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7" r:id="rId5"/>
    <p:sldMasterId id="2147483694" r:id="rId6"/>
  </p:sldMasterIdLst>
  <p:notesMasterIdLst>
    <p:notesMasterId r:id="rId20"/>
  </p:notesMasterIdLst>
  <p:sldIdLst>
    <p:sldId id="814" r:id="rId7"/>
    <p:sldId id="822" r:id="rId8"/>
    <p:sldId id="823" r:id="rId9"/>
    <p:sldId id="824" r:id="rId10"/>
    <p:sldId id="825" r:id="rId11"/>
    <p:sldId id="827" r:id="rId12"/>
    <p:sldId id="826" r:id="rId13"/>
    <p:sldId id="828" r:id="rId14"/>
    <p:sldId id="829" r:id="rId15"/>
    <p:sldId id="830" r:id="rId16"/>
    <p:sldId id="831" r:id="rId17"/>
    <p:sldId id="721" r:id="rId18"/>
    <p:sldId id="284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688" userDrawn="1">
          <p15:clr>
            <a:srgbClr val="A4A3A4"/>
          </p15:clr>
        </p15:guide>
        <p15:guide id="4" pos="67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55BB3A-8716-432D-80E3-DBE36A441FFC}" v="109" dt="2020-03-31T12:30:48.7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4266" autoAdjust="0"/>
  </p:normalViewPr>
  <p:slideViewPr>
    <p:cSldViewPr snapToGrid="0" showGuides="1">
      <p:cViewPr varScale="1">
        <p:scale>
          <a:sx n="46" d="100"/>
          <a:sy n="46" d="100"/>
        </p:scale>
        <p:origin x="716" y="40"/>
      </p:cViewPr>
      <p:guideLst>
        <p:guide orient="horz" pos="2160"/>
        <p:guide pos="3840"/>
        <p:guide pos="688"/>
        <p:guide pos="674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isy Parry" userId="fbbf6a23-d582-4174-b3b7-7ab882e9600c" providerId="ADAL" clId="{FD5EF48C-B1EA-4E05-9A45-3F9EF922C48B}"/>
    <pc:docChg chg="undo custSel delSld modSld sldOrd modMainMaster">
      <pc:chgData name="Daisy Parry" userId="fbbf6a23-d582-4174-b3b7-7ab882e9600c" providerId="ADAL" clId="{FD5EF48C-B1EA-4E05-9A45-3F9EF922C48B}" dt="2020-03-31T13:25:43.803" v="975"/>
      <pc:docMkLst>
        <pc:docMk/>
      </pc:docMkLst>
      <pc:sldChg chg="del">
        <pc:chgData name="Daisy Parry" userId="fbbf6a23-d582-4174-b3b7-7ab882e9600c" providerId="ADAL" clId="{FD5EF48C-B1EA-4E05-9A45-3F9EF922C48B}" dt="2020-03-31T08:32:05.611" v="0" actId="2696"/>
        <pc:sldMkLst>
          <pc:docMk/>
          <pc:sldMk cId="1383686963" sldId="271"/>
        </pc:sldMkLst>
      </pc:sldChg>
      <pc:sldChg chg="del">
        <pc:chgData name="Daisy Parry" userId="fbbf6a23-d582-4174-b3b7-7ab882e9600c" providerId="ADAL" clId="{FD5EF48C-B1EA-4E05-9A45-3F9EF922C48B}" dt="2020-03-31T08:35:41.292" v="50" actId="2696"/>
        <pc:sldMkLst>
          <pc:docMk/>
          <pc:sldMk cId="2049282918" sldId="280"/>
        </pc:sldMkLst>
      </pc:sldChg>
      <pc:sldChg chg="del">
        <pc:chgData name="Daisy Parry" userId="fbbf6a23-d582-4174-b3b7-7ab882e9600c" providerId="ADAL" clId="{FD5EF48C-B1EA-4E05-9A45-3F9EF922C48B}" dt="2020-03-31T12:25:28.636" v="543" actId="2696"/>
        <pc:sldMkLst>
          <pc:docMk/>
          <pc:sldMk cId="3900337311" sldId="281"/>
        </pc:sldMkLst>
      </pc:sldChg>
      <pc:sldChg chg="del">
        <pc:chgData name="Daisy Parry" userId="fbbf6a23-d582-4174-b3b7-7ab882e9600c" providerId="ADAL" clId="{FD5EF48C-B1EA-4E05-9A45-3F9EF922C48B}" dt="2020-03-31T12:26:58.550" v="566" actId="2696"/>
        <pc:sldMkLst>
          <pc:docMk/>
          <pc:sldMk cId="3749866808" sldId="282"/>
        </pc:sldMkLst>
      </pc:sldChg>
      <pc:sldChg chg="del">
        <pc:chgData name="Daisy Parry" userId="fbbf6a23-d582-4174-b3b7-7ab882e9600c" providerId="ADAL" clId="{FD5EF48C-B1EA-4E05-9A45-3F9EF922C48B}" dt="2020-03-31T08:48:02.866" v="155" actId="2696"/>
        <pc:sldMkLst>
          <pc:docMk/>
          <pc:sldMk cId="938625335" sldId="283"/>
        </pc:sldMkLst>
      </pc:sldChg>
      <pc:sldChg chg="del">
        <pc:chgData name="Daisy Parry" userId="fbbf6a23-d582-4174-b3b7-7ab882e9600c" providerId="ADAL" clId="{FD5EF48C-B1EA-4E05-9A45-3F9EF922C48B}" dt="2020-03-31T12:19:53.784" v="422" actId="2696"/>
        <pc:sldMkLst>
          <pc:docMk/>
          <pc:sldMk cId="2899154801" sldId="293"/>
        </pc:sldMkLst>
      </pc:sldChg>
      <pc:sldChg chg="del">
        <pc:chgData name="Daisy Parry" userId="fbbf6a23-d582-4174-b3b7-7ab882e9600c" providerId="ADAL" clId="{FD5EF48C-B1EA-4E05-9A45-3F9EF922C48B}" dt="2020-03-31T12:29:41.968" v="948" actId="2696"/>
        <pc:sldMkLst>
          <pc:docMk/>
          <pc:sldMk cId="737161495" sldId="709"/>
        </pc:sldMkLst>
      </pc:sldChg>
      <pc:sldChg chg="del">
        <pc:chgData name="Daisy Parry" userId="fbbf6a23-d582-4174-b3b7-7ab882e9600c" providerId="ADAL" clId="{FD5EF48C-B1EA-4E05-9A45-3F9EF922C48B}" dt="2020-03-31T12:21:31.859" v="470" actId="2696"/>
        <pc:sldMkLst>
          <pc:docMk/>
          <pc:sldMk cId="204615278" sldId="710"/>
        </pc:sldMkLst>
      </pc:sldChg>
      <pc:sldChg chg="del">
        <pc:chgData name="Daisy Parry" userId="fbbf6a23-d582-4174-b3b7-7ab882e9600c" providerId="ADAL" clId="{FD5EF48C-B1EA-4E05-9A45-3F9EF922C48B}" dt="2020-03-31T08:53:22.511" v="211" actId="2696"/>
        <pc:sldMkLst>
          <pc:docMk/>
          <pc:sldMk cId="2818721761" sldId="711"/>
        </pc:sldMkLst>
      </pc:sldChg>
      <pc:sldChg chg="modSp del">
        <pc:chgData name="Daisy Parry" userId="fbbf6a23-d582-4174-b3b7-7ab882e9600c" providerId="ADAL" clId="{FD5EF48C-B1EA-4E05-9A45-3F9EF922C48B}" dt="2020-03-31T10:07:19.894" v="243" actId="2696"/>
        <pc:sldMkLst>
          <pc:docMk/>
          <pc:sldMk cId="2099488506" sldId="712"/>
        </pc:sldMkLst>
        <pc:spChg chg="mod">
          <ac:chgData name="Daisy Parry" userId="fbbf6a23-d582-4174-b3b7-7ab882e9600c" providerId="ADAL" clId="{FD5EF48C-B1EA-4E05-9A45-3F9EF922C48B}" dt="2020-03-31T08:51:39.266" v="210" actId="14100"/>
          <ac:spMkLst>
            <pc:docMk/>
            <pc:sldMk cId="2099488506" sldId="712"/>
            <ac:spMk id="6" creationId="{03054BE3-8DEC-4C9A-98B2-FA505926E55D}"/>
          </ac:spMkLst>
        </pc:spChg>
      </pc:sldChg>
      <pc:sldChg chg="del">
        <pc:chgData name="Daisy Parry" userId="fbbf6a23-d582-4174-b3b7-7ab882e9600c" providerId="ADAL" clId="{FD5EF48C-B1EA-4E05-9A45-3F9EF922C48B}" dt="2020-03-31T12:17:47.216" v="329" actId="2696"/>
        <pc:sldMkLst>
          <pc:docMk/>
          <pc:sldMk cId="2285404313" sldId="713"/>
        </pc:sldMkLst>
      </pc:sldChg>
      <pc:sldChg chg="del setBg">
        <pc:chgData name="Daisy Parry" userId="fbbf6a23-d582-4174-b3b7-7ab882e9600c" providerId="ADAL" clId="{FD5EF48C-B1EA-4E05-9A45-3F9EF922C48B}" dt="2020-03-31T08:43:49.288" v="93" actId="2696"/>
        <pc:sldMkLst>
          <pc:docMk/>
          <pc:sldMk cId="2916769987" sldId="714"/>
        </pc:sldMkLst>
      </pc:sldChg>
      <pc:sldChg chg="modSp del ord setBg">
        <pc:chgData name="Daisy Parry" userId="fbbf6a23-d582-4174-b3b7-7ab882e9600c" providerId="ADAL" clId="{FD5EF48C-B1EA-4E05-9A45-3F9EF922C48B}" dt="2020-03-31T08:41:04.690" v="92" actId="2696"/>
        <pc:sldMkLst>
          <pc:docMk/>
          <pc:sldMk cId="1866340624" sldId="715"/>
        </pc:sldMkLst>
        <pc:spChg chg="mod">
          <ac:chgData name="Daisy Parry" userId="fbbf6a23-d582-4174-b3b7-7ab882e9600c" providerId="ADAL" clId="{FD5EF48C-B1EA-4E05-9A45-3F9EF922C48B}" dt="2020-03-31T08:38:00.960" v="55" actId="207"/>
          <ac:spMkLst>
            <pc:docMk/>
            <pc:sldMk cId="1866340624" sldId="715"/>
            <ac:spMk id="2" creationId="{7ABAFB55-91D6-4F25-BD75-864E96958ECC}"/>
          </ac:spMkLst>
        </pc:spChg>
        <pc:spChg chg="mod">
          <ac:chgData name="Daisy Parry" userId="fbbf6a23-d582-4174-b3b7-7ab882e9600c" providerId="ADAL" clId="{FD5EF48C-B1EA-4E05-9A45-3F9EF922C48B}" dt="2020-03-31T08:38:08.867" v="57" actId="2085"/>
          <ac:spMkLst>
            <pc:docMk/>
            <pc:sldMk cId="1866340624" sldId="715"/>
            <ac:spMk id="6" creationId="{23657BD4-742F-4742-9772-E7EC97A4C075}"/>
          </ac:spMkLst>
        </pc:spChg>
        <pc:spChg chg="mod">
          <ac:chgData name="Daisy Parry" userId="fbbf6a23-d582-4174-b3b7-7ab882e9600c" providerId="ADAL" clId="{FD5EF48C-B1EA-4E05-9A45-3F9EF922C48B}" dt="2020-03-31T08:37:27.694" v="53" actId="20577"/>
          <ac:spMkLst>
            <pc:docMk/>
            <pc:sldMk cId="1866340624" sldId="715"/>
            <ac:spMk id="33794" creationId="{1F87625A-45CA-494F-9C82-B1D9E674683B}"/>
          </ac:spMkLst>
        </pc:spChg>
      </pc:sldChg>
      <pc:sldChg chg="delSp del ord">
        <pc:chgData name="Daisy Parry" userId="fbbf6a23-d582-4174-b3b7-7ab882e9600c" providerId="ADAL" clId="{FD5EF48C-B1EA-4E05-9A45-3F9EF922C48B}" dt="2020-03-31T08:51:24.940" v="209" actId="2696"/>
        <pc:sldMkLst>
          <pc:docMk/>
          <pc:sldMk cId="2984872182" sldId="716"/>
        </pc:sldMkLst>
        <pc:picChg chg="del">
          <ac:chgData name="Daisy Parry" userId="fbbf6a23-d582-4174-b3b7-7ab882e9600c" providerId="ADAL" clId="{FD5EF48C-B1EA-4E05-9A45-3F9EF922C48B}" dt="2020-03-31T08:48:24.601" v="158" actId="478"/>
          <ac:picMkLst>
            <pc:docMk/>
            <pc:sldMk cId="2984872182" sldId="716"/>
            <ac:picMk id="8194" creationId="{AC06FC30-87B3-4CD0-8C7B-7261C13087E7}"/>
          </ac:picMkLst>
        </pc:picChg>
      </pc:sldChg>
      <pc:sldChg chg="modSp del">
        <pc:chgData name="Daisy Parry" userId="fbbf6a23-d582-4174-b3b7-7ab882e9600c" providerId="ADAL" clId="{FD5EF48C-B1EA-4E05-9A45-3F9EF922C48B}" dt="2020-03-31T12:32:54.052" v="973" actId="2696"/>
        <pc:sldMkLst>
          <pc:docMk/>
          <pc:sldMk cId="49839462" sldId="717"/>
        </pc:sldMkLst>
        <pc:spChg chg="mod">
          <ac:chgData name="Daisy Parry" userId="fbbf6a23-d582-4174-b3b7-7ab882e9600c" providerId="ADAL" clId="{FD5EF48C-B1EA-4E05-9A45-3F9EF922C48B}" dt="2020-03-31T12:30:36.297" v="958" actId="14100"/>
          <ac:spMkLst>
            <pc:docMk/>
            <pc:sldMk cId="49839462" sldId="717"/>
            <ac:spMk id="4" creationId="{6DF53325-2D2E-4F06-BC28-E6F77BC25D56}"/>
          </ac:spMkLst>
        </pc:spChg>
      </pc:sldChg>
      <pc:sldChg chg="del">
        <pc:chgData name="Daisy Parry" userId="fbbf6a23-d582-4174-b3b7-7ab882e9600c" providerId="ADAL" clId="{FD5EF48C-B1EA-4E05-9A45-3F9EF922C48B}" dt="2020-03-31T12:23:02.237" v="504" actId="2696"/>
        <pc:sldMkLst>
          <pc:docMk/>
          <pc:sldMk cId="532293001" sldId="718"/>
        </pc:sldMkLst>
      </pc:sldChg>
      <pc:sldChg chg="del">
        <pc:chgData name="Daisy Parry" userId="fbbf6a23-d582-4174-b3b7-7ab882e9600c" providerId="ADAL" clId="{FD5EF48C-B1EA-4E05-9A45-3F9EF922C48B}" dt="2020-03-31T12:23:07.929" v="505" actId="2696"/>
        <pc:sldMkLst>
          <pc:docMk/>
          <pc:sldMk cId="2782783606" sldId="719"/>
        </pc:sldMkLst>
      </pc:sldChg>
      <pc:sldChg chg="del">
        <pc:chgData name="Daisy Parry" userId="fbbf6a23-d582-4174-b3b7-7ab882e9600c" providerId="ADAL" clId="{FD5EF48C-B1EA-4E05-9A45-3F9EF922C48B}" dt="2020-03-31T12:29:55.409" v="949" actId="2696"/>
        <pc:sldMkLst>
          <pc:docMk/>
          <pc:sldMk cId="2013797292" sldId="721"/>
        </pc:sldMkLst>
      </pc:sldChg>
      <pc:sldChg chg="addSp modSp">
        <pc:chgData name="Daisy Parry" userId="fbbf6a23-d582-4174-b3b7-7ab882e9600c" providerId="ADAL" clId="{FD5EF48C-B1EA-4E05-9A45-3F9EF922C48B}" dt="2020-03-31T12:31:20.457" v="972" actId="14100"/>
        <pc:sldMkLst>
          <pc:docMk/>
          <pc:sldMk cId="4210434545" sldId="721"/>
        </pc:sldMkLst>
        <pc:spChg chg="mod">
          <ac:chgData name="Daisy Parry" userId="fbbf6a23-d582-4174-b3b7-7ab882e9600c" providerId="ADAL" clId="{FD5EF48C-B1EA-4E05-9A45-3F9EF922C48B}" dt="2020-03-31T12:30:15.784" v="953" actId="20577"/>
          <ac:spMkLst>
            <pc:docMk/>
            <pc:sldMk cId="4210434545" sldId="721"/>
            <ac:spMk id="3" creationId="{C549A7EF-F855-47F5-A493-57DABB8A9789}"/>
          </ac:spMkLst>
        </pc:spChg>
        <pc:spChg chg="add mod">
          <ac:chgData name="Daisy Parry" userId="fbbf6a23-d582-4174-b3b7-7ab882e9600c" providerId="ADAL" clId="{FD5EF48C-B1EA-4E05-9A45-3F9EF922C48B}" dt="2020-03-31T12:31:20.457" v="972" actId="14100"/>
          <ac:spMkLst>
            <pc:docMk/>
            <pc:sldMk cId="4210434545" sldId="721"/>
            <ac:spMk id="5" creationId="{AAA52934-B808-4305-857D-596D3642720B}"/>
          </ac:spMkLst>
        </pc:spChg>
        <pc:picChg chg="add mod">
          <ac:chgData name="Daisy Parry" userId="fbbf6a23-d582-4174-b3b7-7ab882e9600c" providerId="ADAL" clId="{FD5EF48C-B1EA-4E05-9A45-3F9EF922C48B}" dt="2020-03-31T12:30:27.536" v="955" actId="1076"/>
          <ac:picMkLst>
            <pc:docMk/>
            <pc:sldMk cId="4210434545" sldId="721"/>
            <ac:picMk id="4" creationId="{64507772-B417-4336-82BF-3FF8624D9DED}"/>
          </ac:picMkLst>
        </pc:picChg>
      </pc:sldChg>
      <pc:sldChg chg="del">
        <pc:chgData name="Daisy Parry" userId="fbbf6a23-d582-4174-b3b7-7ab882e9600c" providerId="ADAL" clId="{FD5EF48C-B1EA-4E05-9A45-3F9EF922C48B}" dt="2020-03-31T12:25:23.067" v="542" actId="2696"/>
        <pc:sldMkLst>
          <pc:docMk/>
          <pc:sldMk cId="3507655349" sldId="722"/>
        </pc:sldMkLst>
      </pc:sldChg>
      <pc:sldChg chg="del">
        <pc:chgData name="Daisy Parry" userId="fbbf6a23-d582-4174-b3b7-7ab882e9600c" providerId="ADAL" clId="{FD5EF48C-B1EA-4E05-9A45-3F9EF922C48B}" dt="2020-03-31T12:25:19.994" v="541" actId="2696"/>
        <pc:sldMkLst>
          <pc:docMk/>
          <pc:sldMk cId="60999812" sldId="723"/>
        </pc:sldMkLst>
      </pc:sldChg>
      <pc:sldChg chg="addSp modSp del">
        <pc:chgData name="Daisy Parry" userId="fbbf6a23-d582-4174-b3b7-7ab882e9600c" providerId="ADAL" clId="{FD5EF48C-B1EA-4E05-9A45-3F9EF922C48B}" dt="2020-03-31T12:29:36.645" v="947" actId="2696"/>
        <pc:sldMkLst>
          <pc:docMk/>
          <pc:sldMk cId="1116227313" sldId="724"/>
        </pc:sldMkLst>
        <pc:spChg chg="mod">
          <ac:chgData name="Daisy Parry" userId="fbbf6a23-d582-4174-b3b7-7ab882e9600c" providerId="ADAL" clId="{FD5EF48C-B1EA-4E05-9A45-3F9EF922C48B}" dt="2020-03-31T12:25:08.564" v="539" actId="20577"/>
          <ac:spMkLst>
            <pc:docMk/>
            <pc:sldMk cId="1116227313" sldId="724"/>
            <ac:spMk id="2" creationId="{66525DEB-DE6C-47B3-9017-132AC058E09E}"/>
          </ac:spMkLst>
        </pc:spChg>
        <pc:picChg chg="mod">
          <ac:chgData name="Daisy Parry" userId="fbbf6a23-d582-4174-b3b7-7ab882e9600c" providerId="ADAL" clId="{FD5EF48C-B1EA-4E05-9A45-3F9EF922C48B}" dt="2020-03-31T12:25:10.831" v="540" actId="1076"/>
          <ac:picMkLst>
            <pc:docMk/>
            <pc:sldMk cId="1116227313" sldId="724"/>
            <ac:picMk id="8" creationId="{FDEC6E3C-966B-49A7-8C7A-55B8DE04BA4E}"/>
          </ac:picMkLst>
        </pc:picChg>
        <pc:picChg chg="add mod">
          <ac:chgData name="Daisy Parry" userId="fbbf6a23-d582-4174-b3b7-7ab882e9600c" providerId="ADAL" clId="{FD5EF48C-B1EA-4E05-9A45-3F9EF922C48B}" dt="2020-03-31T12:27:26.505" v="569" actId="571"/>
          <ac:picMkLst>
            <pc:docMk/>
            <pc:sldMk cId="1116227313" sldId="724"/>
            <ac:picMk id="12" creationId="{2FB6B9DD-F79F-4253-BBD2-C3F8D829F102}"/>
          </ac:picMkLst>
        </pc:picChg>
      </pc:sldChg>
      <pc:sldChg chg="ord">
        <pc:chgData name="Daisy Parry" userId="fbbf6a23-d582-4174-b3b7-7ab882e9600c" providerId="ADAL" clId="{FD5EF48C-B1EA-4E05-9A45-3F9EF922C48B}" dt="2020-03-31T13:25:43.803" v="975"/>
        <pc:sldMkLst>
          <pc:docMk/>
          <pc:sldMk cId="3644910389" sldId="814"/>
        </pc:sldMkLst>
      </pc:sldChg>
      <pc:sldChg chg="modSp setBg">
        <pc:chgData name="Daisy Parry" userId="fbbf6a23-d582-4174-b3b7-7ab882e9600c" providerId="ADAL" clId="{FD5EF48C-B1EA-4E05-9A45-3F9EF922C48B}" dt="2020-03-31T08:37:51.228" v="54"/>
        <pc:sldMkLst>
          <pc:docMk/>
          <pc:sldMk cId="2636180764" sldId="822"/>
        </pc:sldMkLst>
        <pc:spChg chg="mod">
          <ac:chgData name="Daisy Parry" userId="fbbf6a23-d582-4174-b3b7-7ab882e9600c" providerId="ADAL" clId="{FD5EF48C-B1EA-4E05-9A45-3F9EF922C48B}" dt="2020-03-31T08:35:28.700" v="49" actId="1076"/>
          <ac:spMkLst>
            <pc:docMk/>
            <pc:sldMk cId="2636180764" sldId="822"/>
            <ac:spMk id="4" creationId="{6DEA3735-48ED-42F5-8FD5-A4DDDDD66509}"/>
          </ac:spMkLst>
        </pc:spChg>
        <pc:spChg chg="mod">
          <ac:chgData name="Daisy Parry" userId="fbbf6a23-d582-4174-b3b7-7ab882e9600c" providerId="ADAL" clId="{FD5EF48C-B1EA-4E05-9A45-3F9EF922C48B}" dt="2020-03-31T08:35:23.827" v="48" actId="1076"/>
          <ac:spMkLst>
            <pc:docMk/>
            <pc:sldMk cId="2636180764" sldId="822"/>
            <ac:spMk id="5" creationId="{33C9DE74-07A4-45EE-9D9D-C34B3D54E7F2}"/>
          </ac:spMkLst>
        </pc:spChg>
        <pc:picChg chg="mod">
          <ac:chgData name="Daisy Parry" userId="fbbf6a23-d582-4174-b3b7-7ab882e9600c" providerId="ADAL" clId="{FD5EF48C-B1EA-4E05-9A45-3F9EF922C48B}" dt="2020-03-31T08:33:52.795" v="1" actId="14826"/>
          <ac:picMkLst>
            <pc:docMk/>
            <pc:sldMk cId="2636180764" sldId="822"/>
            <ac:picMk id="7" creationId="{E0DA5B3F-EF92-48C1-B8FB-AB60568845C6}"/>
          </ac:picMkLst>
        </pc:picChg>
      </pc:sldChg>
      <pc:sldChg chg="addSp modSp">
        <pc:chgData name="Daisy Parry" userId="fbbf6a23-d582-4174-b3b7-7ab882e9600c" providerId="ADAL" clId="{FD5EF48C-B1EA-4E05-9A45-3F9EF922C48B}" dt="2020-03-31T08:40:57.146" v="91" actId="14100"/>
        <pc:sldMkLst>
          <pc:docMk/>
          <pc:sldMk cId="3421145620" sldId="823"/>
        </pc:sldMkLst>
        <pc:spChg chg="mod">
          <ac:chgData name="Daisy Parry" userId="fbbf6a23-d582-4174-b3b7-7ab882e9600c" providerId="ADAL" clId="{FD5EF48C-B1EA-4E05-9A45-3F9EF922C48B}" dt="2020-03-31T08:40:49.979" v="88" actId="403"/>
          <ac:spMkLst>
            <pc:docMk/>
            <pc:sldMk cId="3421145620" sldId="823"/>
            <ac:spMk id="3" creationId="{9EE3181B-D2A2-462E-A14A-173082794B32}"/>
          </ac:spMkLst>
        </pc:spChg>
        <pc:spChg chg="add mod">
          <ac:chgData name="Daisy Parry" userId="fbbf6a23-d582-4174-b3b7-7ab882e9600c" providerId="ADAL" clId="{FD5EF48C-B1EA-4E05-9A45-3F9EF922C48B}" dt="2020-03-31T08:40:07.883" v="79" actId="403"/>
          <ac:spMkLst>
            <pc:docMk/>
            <pc:sldMk cId="3421145620" sldId="823"/>
            <ac:spMk id="5" creationId="{F4CBE5D9-EEA6-4CB5-8C05-322570851BB3}"/>
          </ac:spMkLst>
        </pc:spChg>
        <pc:spChg chg="add mod">
          <ac:chgData name="Daisy Parry" userId="fbbf6a23-d582-4174-b3b7-7ab882e9600c" providerId="ADAL" clId="{FD5EF48C-B1EA-4E05-9A45-3F9EF922C48B}" dt="2020-03-31T08:40:57.146" v="91" actId="14100"/>
          <ac:spMkLst>
            <pc:docMk/>
            <pc:sldMk cId="3421145620" sldId="823"/>
            <ac:spMk id="6" creationId="{7EFCBF3B-3C4A-4C90-9169-0624CC38A7A7}"/>
          </ac:spMkLst>
        </pc:spChg>
        <pc:picChg chg="add mod">
          <ac:chgData name="Daisy Parry" userId="fbbf6a23-d582-4174-b3b7-7ab882e9600c" providerId="ADAL" clId="{FD5EF48C-B1EA-4E05-9A45-3F9EF922C48B}" dt="2020-03-31T08:40:12.828" v="81" actId="1076"/>
          <ac:picMkLst>
            <pc:docMk/>
            <pc:sldMk cId="3421145620" sldId="823"/>
            <ac:picMk id="4" creationId="{72EA64DE-995C-49EC-8122-82E27B7101C0}"/>
          </ac:picMkLst>
        </pc:picChg>
      </pc:sldChg>
      <pc:sldChg chg="addSp delSp modSp">
        <pc:chgData name="Daisy Parry" userId="fbbf6a23-d582-4174-b3b7-7ab882e9600c" providerId="ADAL" clId="{FD5EF48C-B1EA-4E05-9A45-3F9EF922C48B}" dt="2020-03-31T08:47:57.252" v="154" actId="1076"/>
        <pc:sldMkLst>
          <pc:docMk/>
          <pc:sldMk cId="799614434" sldId="824"/>
        </pc:sldMkLst>
        <pc:spChg chg="mod">
          <ac:chgData name="Daisy Parry" userId="fbbf6a23-d582-4174-b3b7-7ab882e9600c" providerId="ADAL" clId="{FD5EF48C-B1EA-4E05-9A45-3F9EF922C48B}" dt="2020-03-31T08:47:57.252" v="154" actId="1076"/>
          <ac:spMkLst>
            <pc:docMk/>
            <pc:sldMk cId="799614434" sldId="824"/>
            <ac:spMk id="3" creationId="{9EE3181B-D2A2-462E-A14A-173082794B32}"/>
          </ac:spMkLst>
        </pc:spChg>
        <pc:spChg chg="mod">
          <ac:chgData name="Daisy Parry" userId="fbbf6a23-d582-4174-b3b7-7ab882e9600c" providerId="ADAL" clId="{FD5EF48C-B1EA-4E05-9A45-3F9EF922C48B}" dt="2020-03-31T08:47:52.699" v="153" actId="1076"/>
          <ac:spMkLst>
            <pc:docMk/>
            <pc:sldMk cId="799614434" sldId="824"/>
            <ac:spMk id="5" creationId="{F4CBE5D9-EEA6-4CB5-8C05-322570851BB3}"/>
          </ac:spMkLst>
        </pc:spChg>
        <pc:spChg chg="del">
          <ac:chgData name="Daisy Parry" userId="fbbf6a23-d582-4174-b3b7-7ab882e9600c" providerId="ADAL" clId="{FD5EF48C-B1EA-4E05-9A45-3F9EF922C48B}" dt="2020-03-31T08:47:23.218" v="144" actId="478"/>
          <ac:spMkLst>
            <pc:docMk/>
            <pc:sldMk cId="799614434" sldId="824"/>
            <ac:spMk id="6" creationId="{7EFCBF3B-3C4A-4C90-9169-0624CC38A7A7}"/>
          </ac:spMkLst>
        </pc:spChg>
        <pc:picChg chg="del">
          <ac:chgData name="Daisy Parry" userId="fbbf6a23-d582-4174-b3b7-7ab882e9600c" providerId="ADAL" clId="{FD5EF48C-B1EA-4E05-9A45-3F9EF922C48B}" dt="2020-03-31T08:44:30.111" v="95" actId="478"/>
          <ac:picMkLst>
            <pc:docMk/>
            <pc:sldMk cId="799614434" sldId="824"/>
            <ac:picMk id="4" creationId="{72EA64DE-995C-49EC-8122-82E27B7101C0}"/>
          </ac:picMkLst>
        </pc:picChg>
        <pc:picChg chg="add mod">
          <ac:chgData name="Daisy Parry" userId="fbbf6a23-d582-4174-b3b7-7ab882e9600c" providerId="ADAL" clId="{FD5EF48C-B1EA-4E05-9A45-3F9EF922C48B}" dt="2020-03-31T08:47:49.911" v="152" actId="1076"/>
          <ac:picMkLst>
            <pc:docMk/>
            <pc:sldMk cId="799614434" sldId="824"/>
            <ac:picMk id="7" creationId="{57044786-2C19-4C87-9C87-E7CF5A4932D5}"/>
          </ac:picMkLst>
        </pc:picChg>
      </pc:sldChg>
      <pc:sldChg chg="del">
        <pc:chgData name="Daisy Parry" userId="fbbf6a23-d582-4174-b3b7-7ab882e9600c" providerId="ADAL" clId="{FD5EF48C-B1EA-4E05-9A45-3F9EF922C48B}" dt="2020-03-31T08:44:08.672" v="94" actId="2696"/>
        <pc:sldMkLst>
          <pc:docMk/>
          <pc:sldMk cId="3536349025" sldId="824"/>
        </pc:sldMkLst>
      </pc:sldChg>
      <pc:sldChg chg="addSp modSp">
        <pc:chgData name="Daisy Parry" userId="fbbf6a23-d582-4174-b3b7-7ab882e9600c" providerId="ADAL" clId="{FD5EF48C-B1EA-4E05-9A45-3F9EF922C48B}" dt="2020-03-31T08:50:08.133" v="208" actId="688"/>
        <pc:sldMkLst>
          <pc:docMk/>
          <pc:sldMk cId="1498949344" sldId="825"/>
        </pc:sldMkLst>
        <pc:spChg chg="mod">
          <ac:chgData name="Daisy Parry" userId="fbbf6a23-d582-4174-b3b7-7ab882e9600c" providerId="ADAL" clId="{FD5EF48C-B1EA-4E05-9A45-3F9EF922C48B}" dt="2020-03-31T08:48:59.279" v="190" actId="20577"/>
          <ac:spMkLst>
            <pc:docMk/>
            <pc:sldMk cId="1498949344" sldId="825"/>
            <ac:spMk id="3" creationId="{EB6DA5DE-C591-4892-BC9D-AB5108DAAFF0}"/>
          </ac:spMkLst>
        </pc:spChg>
        <pc:spChg chg="add mod">
          <ac:chgData name="Daisy Parry" userId="fbbf6a23-d582-4174-b3b7-7ab882e9600c" providerId="ADAL" clId="{FD5EF48C-B1EA-4E05-9A45-3F9EF922C48B}" dt="2020-03-31T08:49:32.532" v="197" actId="1076"/>
          <ac:spMkLst>
            <pc:docMk/>
            <pc:sldMk cId="1498949344" sldId="825"/>
            <ac:spMk id="4" creationId="{240248A1-79DC-4461-A0AE-9101B1E7EED0}"/>
          </ac:spMkLst>
        </pc:spChg>
        <pc:spChg chg="add mod">
          <ac:chgData name="Daisy Parry" userId="fbbf6a23-d582-4174-b3b7-7ab882e9600c" providerId="ADAL" clId="{FD5EF48C-B1EA-4E05-9A45-3F9EF922C48B}" dt="2020-03-31T08:50:08.133" v="208" actId="688"/>
          <ac:spMkLst>
            <pc:docMk/>
            <pc:sldMk cId="1498949344" sldId="825"/>
            <ac:spMk id="5" creationId="{0E0EF0FC-9FFF-4BBD-9A6D-15A002B21347}"/>
          </ac:spMkLst>
        </pc:spChg>
      </pc:sldChg>
      <pc:sldChg chg="addSp delSp modSp ord">
        <pc:chgData name="Daisy Parry" userId="fbbf6a23-d582-4174-b3b7-7ab882e9600c" providerId="ADAL" clId="{FD5EF48C-B1EA-4E05-9A45-3F9EF922C48B}" dt="2020-03-31T12:17:40.525" v="328" actId="1076"/>
        <pc:sldMkLst>
          <pc:docMk/>
          <pc:sldMk cId="302475955" sldId="826"/>
        </pc:sldMkLst>
        <pc:spChg chg="mod">
          <ac:chgData name="Daisy Parry" userId="fbbf6a23-d582-4174-b3b7-7ab882e9600c" providerId="ADAL" clId="{FD5EF48C-B1EA-4E05-9A45-3F9EF922C48B}" dt="2020-03-31T12:17:25.280" v="292" actId="113"/>
          <ac:spMkLst>
            <pc:docMk/>
            <pc:sldMk cId="302475955" sldId="826"/>
            <ac:spMk id="3" creationId="{EB6DA5DE-C591-4892-BC9D-AB5108DAAFF0}"/>
          </ac:spMkLst>
        </pc:spChg>
        <pc:spChg chg="add mod">
          <ac:chgData name="Daisy Parry" userId="fbbf6a23-d582-4174-b3b7-7ab882e9600c" providerId="ADAL" clId="{FD5EF48C-B1EA-4E05-9A45-3F9EF922C48B}" dt="2020-03-31T12:17:35.073" v="327" actId="20577"/>
          <ac:spMkLst>
            <pc:docMk/>
            <pc:sldMk cId="302475955" sldId="826"/>
            <ac:spMk id="5" creationId="{9FF43A70-C634-4038-8356-620B828CFE2F}"/>
          </ac:spMkLst>
        </pc:spChg>
        <pc:picChg chg="add del mod">
          <ac:chgData name="Daisy Parry" userId="fbbf6a23-d582-4174-b3b7-7ab882e9600c" providerId="ADAL" clId="{FD5EF48C-B1EA-4E05-9A45-3F9EF922C48B}" dt="2020-03-31T12:16:14.115" v="277" actId="478"/>
          <ac:picMkLst>
            <pc:docMk/>
            <pc:sldMk cId="302475955" sldId="826"/>
            <ac:picMk id="4" creationId="{CE892C41-FA78-48FF-A87F-76CE94433FE3}"/>
          </ac:picMkLst>
        </pc:picChg>
        <pc:picChg chg="add mod">
          <ac:chgData name="Daisy Parry" userId="fbbf6a23-d582-4174-b3b7-7ab882e9600c" providerId="ADAL" clId="{FD5EF48C-B1EA-4E05-9A45-3F9EF922C48B}" dt="2020-03-31T12:17:40.525" v="328" actId="1076"/>
          <ac:picMkLst>
            <pc:docMk/>
            <pc:sldMk cId="302475955" sldId="826"/>
            <ac:picMk id="6" creationId="{F472D31B-DA8D-4A2B-ACDF-1E4B92279E38}"/>
          </ac:picMkLst>
        </pc:picChg>
      </pc:sldChg>
      <pc:sldChg chg="modSp">
        <pc:chgData name="Daisy Parry" userId="fbbf6a23-d582-4174-b3b7-7ab882e9600c" providerId="ADAL" clId="{FD5EF48C-B1EA-4E05-9A45-3F9EF922C48B}" dt="2020-03-31T12:15:36.736" v="256" actId="20577"/>
        <pc:sldMkLst>
          <pc:docMk/>
          <pc:sldMk cId="1768073551" sldId="827"/>
        </pc:sldMkLst>
        <pc:spChg chg="mod">
          <ac:chgData name="Daisy Parry" userId="fbbf6a23-d582-4174-b3b7-7ab882e9600c" providerId="ADAL" clId="{FD5EF48C-B1EA-4E05-9A45-3F9EF922C48B}" dt="2020-03-31T12:15:36.736" v="256" actId="20577"/>
          <ac:spMkLst>
            <pc:docMk/>
            <pc:sldMk cId="1768073551" sldId="827"/>
            <ac:spMk id="5" creationId="{9FF43A70-C634-4038-8356-620B828CFE2F}"/>
          </ac:spMkLst>
        </pc:spChg>
      </pc:sldChg>
      <pc:sldChg chg="addSp delSp modSp">
        <pc:chgData name="Daisy Parry" userId="fbbf6a23-d582-4174-b3b7-7ab882e9600c" providerId="ADAL" clId="{FD5EF48C-B1EA-4E05-9A45-3F9EF922C48B}" dt="2020-03-31T12:19:44.031" v="421" actId="1076"/>
        <pc:sldMkLst>
          <pc:docMk/>
          <pc:sldMk cId="745296967" sldId="828"/>
        </pc:sldMkLst>
        <pc:spChg chg="mod">
          <ac:chgData name="Daisy Parry" userId="fbbf6a23-d582-4174-b3b7-7ab882e9600c" providerId="ADAL" clId="{FD5EF48C-B1EA-4E05-9A45-3F9EF922C48B}" dt="2020-03-31T12:19:44.031" v="421" actId="1076"/>
          <ac:spMkLst>
            <pc:docMk/>
            <pc:sldMk cId="745296967" sldId="828"/>
            <ac:spMk id="3" creationId="{EB6DA5DE-C591-4892-BC9D-AB5108DAAFF0}"/>
          </ac:spMkLst>
        </pc:spChg>
        <pc:spChg chg="mod">
          <ac:chgData name="Daisy Parry" userId="fbbf6a23-d582-4174-b3b7-7ab882e9600c" providerId="ADAL" clId="{FD5EF48C-B1EA-4E05-9A45-3F9EF922C48B}" dt="2020-03-31T12:19:36.097" v="419" actId="1076"/>
          <ac:spMkLst>
            <pc:docMk/>
            <pc:sldMk cId="745296967" sldId="828"/>
            <ac:spMk id="5" creationId="{9FF43A70-C634-4038-8356-620B828CFE2F}"/>
          </ac:spMkLst>
        </pc:spChg>
        <pc:picChg chg="del">
          <ac:chgData name="Daisy Parry" userId="fbbf6a23-d582-4174-b3b7-7ab882e9600c" providerId="ADAL" clId="{FD5EF48C-B1EA-4E05-9A45-3F9EF922C48B}" dt="2020-03-31T12:18:16.648" v="330" actId="478"/>
          <ac:picMkLst>
            <pc:docMk/>
            <pc:sldMk cId="745296967" sldId="828"/>
            <ac:picMk id="6" creationId="{F472D31B-DA8D-4A2B-ACDF-1E4B92279E38}"/>
          </ac:picMkLst>
        </pc:picChg>
        <pc:picChg chg="add mod">
          <ac:chgData name="Daisy Parry" userId="fbbf6a23-d582-4174-b3b7-7ab882e9600c" providerId="ADAL" clId="{FD5EF48C-B1EA-4E05-9A45-3F9EF922C48B}" dt="2020-03-31T12:19:38.988" v="420" actId="1076"/>
          <ac:picMkLst>
            <pc:docMk/>
            <pc:sldMk cId="745296967" sldId="828"/>
            <ac:picMk id="7" creationId="{851BCEE6-E9EA-4E34-B25A-ED2EA0F3AF5E}"/>
          </ac:picMkLst>
        </pc:picChg>
      </pc:sldChg>
      <pc:sldChg chg="addSp delSp modSp">
        <pc:chgData name="Daisy Parry" userId="fbbf6a23-d582-4174-b3b7-7ab882e9600c" providerId="ADAL" clId="{FD5EF48C-B1EA-4E05-9A45-3F9EF922C48B}" dt="2020-03-31T12:24:28.461" v="513" actId="1076"/>
        <pc:sldMkLst>
          <pc:docMk/>
          <pc:sldMk cId="686580461" sldId="829"/>
        </pc:sldMkLst>
        <pc:spChg chg="mod">
          <ac:chgData name="Daisy Parry" userId="fbbf6a23-d582-4174-b3b7-7ab882e9600c" providerId="ADAL" clId="{FD5EF48C-B1EA-4E05-9A45-3F9EF922C48B}" dt="2020-03-31T12:20:30.957" v="433" actId="20577"/>
          <ac:spMkLst>
            <pc:docMk/>
            <pc:sldMk cId="686580461" sldId="829"/>
            <ac:spMk id="3" creationId="{EB6DA5DE-C591-4892-BC9D-AB5108DAAFF0}"/>
          </ac:spMkLst>
        </pc:spChg>
        <pc:spChg chg="add mod">
          <ac:chgData name="Daisy Parry" userId="fbbf6a23-d582-4174-b3b7-7ab882e9600c" providerId="ADAL" clId="{FD5EF48C-B1EA-4E05-9A45-3F9EF922C48B}" dt="2020-03-31T12:24:21.545" v="511" actId="14100"/>
          <ac:spMkLst>
            <pc:docMk/>
            <pc:sldMk cId="686580461" sldId="829"/>
            <ac:spMk id="5" creationId="{B07A800C-4D60-4904-9CE8-A179399A67FB}"/>
          </ac:spMkLst>
        </pc:spChg>
        <pc:picChg chg="add del mod">
          <ac:chgData name="Daisy Parry" userId="fbbf6a23-d582-4174-b3b7-7ab882e9600c" providerId="ADAL" clId="{FD5EF48C-B1EA-4E05-9A45-3F9EF922C48B}" dt="2020-03-31T12:24:04.537" v="506" actId="478"/>
          <ac:picMkLst>
            <pc:docMk/>
            <pc:sldMk cId="686580461" sldId="829"/>
            <ac:picMk id="4" creationId="{C7E167B1-DF76-47D2-9677-2BA0B07F1CCE}"/>
          </ac:picMkLst>
        </pc:picChg>
        <pc:picChg chg="add mod">
          <ac:chgData name="Daisy Parry" userId="fbbf6a23-d582-4174-b3b7-7ab882e9600c" providerId="ADAL" clId="{FD5EF48C-B1EA-4E05-9A45-3F9EF922C48B}" dt="2020-03-31T12:24:28.461" v="513" actId="1076"/>
          <ac:picMkLst>
            <pc:docMk/>
            <pc:sldMk cId="686580461" sldId="829"/>
            <ac:picMk id="6" creationId="{683711BA-1824-4F8B-B05A-41201EDDD58C}"/>
          </ac:picMkLst>
        </pc:picChg>
      </pc:sldChg>
      <pc:sldChg chg="addSp delSp modSp del">
        <pc:chgData name="Daisy Parry" userId="fbbf6a23-d582-4174-b3b7-7ab882e9600c" providerId="ADAL" clId="{FD5EF48C-B1EA-4E05-9A45-3F9EF922C48B}" dt="2020-03-31T12:22:59.373" v="503" actId="2696"/>
        <pc:sldMkLst>
          <pc:docMk/>
          <pc:sldMk cId="1606679947" sldId="830"/>
        </pc:sldMkLst>
        <pc:spChg chg="mod">
          <ac:chgData name="Daisy Parry" userId="fbbf6a23-d582-4174-b3b7-7ab882e9600c" providerId="ADAL" clId="{FD5EF48C-B1EA-4E05-9A45-3F9EF922C48B}" dt="2020-03-31T12:22:12.250" v="496" actId="20577"/>
          <ac:spMkLst>
            <pc:docMk/>
            <pc:sldMk cId="1606679947" sldId="830"/>
            <ac:spMk id="3" creationId="{EB6DA5DE-C591-4892-BC9D-AB5108DAAFF0}"/>
          </ac:spMkLst>
        </pc:spChg>
        <pc:spChg chg="mod">
          <ac:chgData name="Daisy Parry" userId="fbbf6a23-d582-4174-b3b7-7ab882e9600c" providerId="ADAL" clId="{FD5EF48C-B1EA-4E05-9A45-3F9EF922C48B}" dt="2020-03-31T12:22:51.808" v="502" actId="14100"/>
          <ac:spMkLst>
            <pc:docMk/>
            <pc:sldMk cId="1606679947" sldId="830"/>
            <ac:spMk id="5" creationId="{B07A800C-4D60-4904-9CE8-A179399A67FB}"/>
          </ac:spMkLst>
        </pc:spChg>
        <pc:picChg chg="del">
          <ac:chgData name="Daisy Parry" userId="fbbf6a23-d582-4174-b3b7-7ab882e9600c" providerId="ADAL" clId="{FD5EF48C-B1EA-4E05-9A45-3F9EF922C48B}" dt="2020-03-31T12:22:14.717" v="497" actId="478"/>
          <ac:picMkLst>
            <pc:docMk/>
            <pc:sldMk cId="1606679947" sldId="830"/>
            <ac:picMk id="4" creationId="{C7E167B1-DF76-47D2-9677-2BA0B07F1CCE}"/>
          </ac:picMkLst>
        </pc:picChg>
        <pc:picChg chg="add mod">
          <ac:chgData name="Daisy Parry" userId="fbbf6a23-d582-4174-b3b7-7ab882e9600c" providerId="ADAL" clId="{FD5EF48C-B1EA-4E05-9A45-3F9EF922C48B}" dt="2020-03-31T12:22:27.914" v="499" actId="1076"/>
          <ac:picMkLst>
            <pc:docMk/>
            <pc:sldMk cId="1606679947" sldId="830"/>
            <ac:picMk id="6" creationId="{271FE454-CDC9-4329-ABF7-A92073963C1F}"/>
          </ac:picMkLst>
        </pc:picChg>
      </pc:sldChg>
      <pc:sldChg chg="addSp delSp modSp">
        <pc:chgData name="Daisy Parry" userId="fbbf6a23-d582-4174-b3b7-7ab882e9600c" providerId="ADAL" clId="{FD5EF48C-B1EA-4E05-9A45-3F9EF922C48B}" dt="2020-03-31T12:26:50.066" v="565" actId="113"/>
        <pc:sldMkLst>
          <pc:docMk/>
          <pc:sldMk cId="3111440525" sldId="830"/>
        </pc:sldMkLst>
        <pc:spChg chg="mod">
          <ac:chgData name="Daisy Parry" userId="fbbf6a23-d582-4174-b3b7-7ab882e9600c" providerId="ADAL" clId="{FD5EF48C-B1EA-4E05-9A45-3F9EF922C48B}" dt="2020-03-31T12:26:02.440" v="548"/>
          <ac:spMkLst>
            <pc:docMk/>
            <pc:sldMk cId="3111440525" sldId="830"/>
            <ac:spMk id="3" creationId="{C549A7EF-F855-47F5-A493-57DABB8A9789}"/>
          </ac:spMkLst>
        </pc:spChg>
        <pc:spChg chg="add del mod">
          <ac:chgData name="Daisy Parry" userId="fbbf6a23-d582-4174-b3b7-7ab882e9600c" providerId="ADAL" clId="{FD5EF48C-B1EA-4E05-9A45-3F9EF922C48B}" dt="2020-03-31T12:26:06.927" v="551" actId="478"/>
          <ac:spMkLst>
            <pc:docMk/>
            <pc:sldMk cId="3111440525" sldId="830"/>
            <ac:spMk id="4" creationId="{BACC6C76-E32C-45FC-BE92-382AE202F865}"/>
          </ac:spMkLst>
        </pc:spChg>
        <pc:spChg chg="add mod">
          <ac:chgData name="Daisy Parry" userId="fbbf6a23-d582-4174-b3b7-7ab882e9600c" providerId="ADAL" clId="{FD5EF48C-B1EA-4E05-9A45-3F9EF922C48B}" dt="2020-03-31T12:26:50.066" v="565" actId="113"/>
          <ac:spMkLst>
            <pc:docMk/>
            <pc:sldMk cId="3111440525" sldId="830"/>
            <ac:spMk id="5" creationId="{45D2F844-9DBE-44D3-B382-4E0424B7CAB4}"/>
          </ac:spMkLst>
        </pc:spChg>
      </pc:sldChg>
      <pc:sldChg chg="addSp modSp">
        <pc:chgData name="Daisy Parry" userId="fbbf6a23-d582-4174-b3b7-7ab882e9600c" providerId="ADAL" clId="{FD5EF48C-B1EA-4E05-9A45-3F9EF922C48B}" dt="2020-03-31T12:29:32.243" v="946" actId="1076"/>
        <pc:sldMkLst>
          <pc:docMk/>
          <pc:sldMk cId="3193974610" sldId="831"/>
        </pc:sldMkLst>
        <pc:spChg chg="mod">
          <ac:chgData name="Daisy Parry" userId="fbbf6a23-d582-4174-b3b7-7ab882e9600c" providerId="ADAL" clId="{FD5EF48C-B1EA-4E05-9A45-3F9EF922C48B}" dt="2020-03-31T12:27:16.346" v="567"/>
          <ac:spMkLst>
            <pc:docMk/>
            <pc:sldMk cId="3193974610" sldId="831"/>
            <ac:spMk id="3" creationId="{C549A7EF-F855-47F5-A493-57DABB8A9789}"/>
          </ac:spMkLst>
        </pc:spChg>
        <pc:spChg chg="add mod">
          <ac:chgData name="Daisy Parry" userId="fbbf6a23-d582-4174-b3b7-7ab882e9600c" providerId="ADAL" clId="{FD5EF48C-B1EA-4E05-9A45-3F9EF922C48B}" dt="2020-03-31T12:29:32.243" v="946" actId="1076"/>
          <ac:spMkLst>
            <pc:docMk/>
            <pc:sldMk cId="3193974610" sldId="831"/>
            <ac:spMk id="6" creationId="{B4F0CD52-9307-4530-8268-CFD2A89D4B3C}"/>
          </ac:spMkLst>
        </pc:spChg>
        <pc:picChg chg="add">
          <ac:chgData name="Daisy Parry" userId="fbbf6a23-d582-4174-b3b7-7ab882e9600c" providerId="ADAL" clId="{FD5EF48C-B1EA-4E05-9A45-3F9EF922C48B}" dt="2020-03-31T12:27:22.976" v="568"/>
          <ac:picMkLst>
            <pc:docMk/>
            <pc:sldMk cId="3193974610" sldId="831"/>
            <ac:picMk id="4" creationId="{88817E1E-32A0-448F-8875-73572721109B}"/>
          </ac:picMkLst>
        </pc:picChg>
        <pc:picChg chg="add mod">
          <ac:chgData name="Daisy Parry" userId="fbbf6a23-d582-4174-b3b7-7ab882e9600c" providerId="ADAL" clId="{FD5EF48C-B1EA-4E05-9A45-3F9EF922C48B}" dt="2020-03-31T12:27:34.580" v="572" actId="1076"/>
          <ac:picMkLst>
            <pc:docMk/>
            <pc:sldMk cId="3193974610" sldId="831"/>
            <ac:picMk id="5" creationId="{42C04370-9360-4B34-AB67-B8CECEBDD594}"/>
          </ac:picMkLst>
        </pc:picChg>
      </pc:sldChg>
      <pc:sldMasterChg chg="setBg delSldLayout modSldLayout">
        <pc:chgData name="Daisy Parry" userId="fbbf6a23-d582-4174-b3b7-7ab882e9600c" providerId="ADAL" clId="{FD5EF48C-B1EA-4E05-9A45-3F9EF922C48B}" dt="2020-03-31T08:38:51.295" v="60"/>
        <pc:sldMasterMkLst>
          <pc:docMk/>
          <pc:sldMasterMk cId="955453506" sldId="2147483660"/>
        </pc:sldMasterMkLst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366988213" sldId="2147483661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188828274" sldId="2147483662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1734641004" sldId="2147483663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444239947" sldId="2147483664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209645480" sldId="2147483665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307859399" sldId="2147483666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478524511" sldId="2147483667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273336491" sldId="2147483668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306360970" sldId="2147483669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033955696" sldId="2147483670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1569178600" sldId="2147483671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3572497483" sldId="2147483672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1239209739" sldId="2147483673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955453506" sldId="2147483660"/>
            <pc:sldLayoutMk cId="2338227106" sldId="2147483674"/>
          </pc:sldLayoutMkLst>
        </pc:sldLayoutChg>
        <pc:sldLayoutChg chg="del">
          <pc:chgData name="Daisy Parry" userId="fbbf6a23-d582-4174-b3b7-7ab882e9600c" providerId="ADAL" clId="{FD5EF48C-B1EA-4E05-9A45-3F9EF922C48B}" dt="2020-03-31T08:32:05.611" v="0" actId="2696"/>
          <pc:sldLayoutMkLst>
            <pc:docMk/>
            <pc:sldMasterMk cId="955453506" sldId="2147483660"/>
            <pc:sldLayoutMk cId="2192548113" sldId="2147483676"/>
          </pc:sldLayoutMkLst>
        </pc:sldLayoutChg>
      </pc:sldMasterChg>
      <pc:sldMasterChg chg="setBg delSldLayout modSldLayout">
        <pc:chgData name="Daisy Parry" userId="fbbf6a23-d582-4174-b3b7-7ab882e9600c" providerId="ADAL" clId="{FD5EF48C-B1EA-4E05-9A45-3F9EF922C48B}" dt="2020-03-31T12:29:36.645" v="947" actId="2696"/>
        <pc:sldMasterMkLst>
          <pc:docMk/>
          <pc:sldMasterMk cId="2544786167" sldId="2147483677"/>
        </pc:sldMasterMkLst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2646808314" sldId="2147483678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277437199" sldId="2147483679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2686234360" sldId="2147483680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3170251500" sldId="2147483681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2672840927" sldId="2147483682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1945955312" sldId="2147483683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4163924426" sldId="2147483684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1657069826" sldId="2147483685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1993054140" sldId="2147483686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91240416" sldId="2147483687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1216286507" sldId="2147483688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1507411178" sldId="2147483689"/>
          </pc:sldLayoutMkLst>
        </pc:sldLayoutChg>
        <pc:sldLayoutChg chg="del setBg">
          <pc:chgData name="Daisy Parry" userId="fbbf6a23-d582-4174-b3b7-7ab882e9600c" providerId="ADAL" clId="{FD5EF48C-B1EA-4E05-9A45-3F9EF922C48B}" dt="2020-03-31T12:29:36.645" v="947" actId="2696"/>
          <pc:sldLayoutMkLst>
            <pc:docMk/>
            <pc:sldMasterMk cId="2544786167" sldId="2147483677"/>
            <pc:sldLayoutMk cId="1602984566" sldId="2147483690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76630037" sldId="2147483691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2544786167" sldId="2147483677"/>
            <pc:sldLayoutMk cId="194858635" sldId="2147483693"/>
          </pc:sldLayoutMkLst>
        </pc:sldLayoutChg>
      </pc:sldMasterChg>
      <pc:sldMasterChg chg="setBg modSldLayout">
        <pc:chgData name="Daisy Parry" userId="fbbf6a23-d582-4174-b3b7-7ab882e9600c" providerId="ADAL" clId="{FD5EF48C-B1EA-4E05-9A45-3F9EF922C48B}" dt="2020-03-31T08:38:51.295" v="60"/>
        <pc:sldMasterMkLst>
          <pc:docMk/>
          <pc:sldMasterMk cId="3393421597" sldId="2147483694"/>
        </pc:sldMasterMkLst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1953188338" sldId="2147483695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3317677715" sldId="2147483696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613977454" sldId="2147483697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2388165098" sldId="2147483698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916257595" sldId="2147483699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2948172460" sldId="2147483700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3221593536" sldId="2147483701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901605987" sldId="2147483702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1806070435" sldId="2147483703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1047450648" sldId="2147483704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3620871799" sldId="2147483705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2602006137" sldId="2147483706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2082932454" sldId="2147483707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398547306" sldId="2147483708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942699224" sldId="2147483709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3294980515" sldId="2147483710"/>
          </pc:sldLayoutMkLst>
        </pc:sldLayoutChg>
        <pc:sldLayoutChg chg="setBg">
          <pc:chgData name="Daisy Parry" userId="fbbf6a23-d582-4174-b3b7-7ab882e9600c" providerId="ADAL" clId="{FD5EF48C-B1EA-4E05-9A45-3F9EF922C48B}" dt="2020-03-31T08:38:51.295" v="60"/>
          <pc:sldLayoutMkLst>
            <pc:docMk/>
            <pc:sldMasterMk cId="3393421597" sldId="2147483694"/>
            <pc:sldLayoutMk cId="127722538" sldId="214748371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C4D650-1DF3-4D2B-8896-2149582F07D4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7D165-F5E0-4B8D-AD8E-D8CA13CEEED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3720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7D165-F5E0-4B8D-AD8E-D8CA13CEEED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6779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7D165-F5E0-4B8D-AD8E-D8CA13CEEED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6316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20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66988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33955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20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69178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0" cy="696005"/>
          </a:xfrm>
          <a:prstGeom prst="rect">
            <a:avLst/>
          </a:prstGeom>
        </p:spPr>
        <p:txBody>
          <a:bodyPr vert="horz"/>
          <a:lstStyle>
            <a:lvl1pPr>
              <a:defRPr sz="3733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92669" y="1342359"/>
            <a:ext cx="11006667" cy="3765551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  <a:lvl2pPr>
              <a:defRPr sz="2667">
                <a:solidFill>
                  <a:srgbClr val="404040"/>
                </a:solidFill>
                <a:latin typeface="+mj-lt"/>
              </a:defRPr>
            </a:lvl2pPr>
            <a:lvl3pPr>
              <a:defRPr sz="2667">
                <a:solidFill>
                  <a:srgbClr val="404040"/>
                </a:solidFill>
                <a:latin typeface="+mj-lt"/>
              </a:defRPr>
            </a:lvl3pPr>
            <a:lvl4pPr>
              <a:defRPr sz="2667">
                <a:solidFill>
                  <a:srgbClr val="404040"/>
                </a:solidFill>
                <a:latin typeface="+mj-lt"/>
              </a:defRPr>
            </a:lvl4pPr>
            <a:lvl5pPr>
              <a:defRPr sz="2667">
                <a:solidFill>
                  <a:srgbClr val="404040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1F87C6-8F4B-C14F-952F-C5F8DB9F277E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497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190240" y="2947201"/>
            <a:ext cx="8324427" cy="848783"/>
          </a:xfrm>
          <a:prstGeom prst="rect">
            <a:avLst/>
          </a:prstGeom>
        </p:spPr>
        <p:txBody>
          <a:bodyPr/>
          <a:lstStyle>
            <a:lvl1pPr algn="l">
              <a:defRPr sz="4267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192000" y="3796800"/>
            <a:ext cx="831088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2097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-14041"/>
            <a:ext cx="10233600" cy="1046400"/>
          </a:xfrm>
          <a:prstGeom prst="rect">
            <a:avLst/>
          </a:prstGeom>
          <a:solidFill>
            <a:srgbClr val="DE002B"/>
          </a:solidFill>
        </p:spPr>
        <p:txBody>
          <a:bodyPr vert="horz" wrap="square" lIns="243000" tIns="34290" rIns="68580" bIns="34290" rtlCol="0" anchor="ctr" anchorCtr="0">
            <a:noAutofit/>
          </a:bodyPr>
          <a:lstStyle>
            <a:lvl1pPr>
              <a:defRPr lang="en-ZA" sz="2669" b="0" dirty="0">
                <a:solidFill>
                  <a:srgbClr val="FFFFFF"/>
                </a:solidFill>
                <a:latin typeface="Arial Black" panose="020B0A040201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003240" y="6501341"/>
            <a:ext cx="853400" cy="30679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fld id="{E52D2AFC-71C4-4511-B128-4ECEE52D3027}" type="slidenum">
              <a:rPr lang="en-ZA" sz="1067" smtClean="0"/>
              <a:pPr lvl="0" algn="r"/>
              <a:t>‹#›</a:t>
            </a:fld>
            <a:endParaRPr lang="en-GB" sz="1067" dirty="0"/>
          </a:p>
        </p:txBody>
      </p:sp>
    </p:spTree>
    <p:extLst>
      <p:ext uri="{BB962C8B-B14F-4D97-AF65-F5344CB8AC3E}">
        <p14:creationId xmlns:p14="http://schemas.microsoft.com/office/powerpoint/2010/main" val="2338227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 Polygon (light b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5050368" y="0"/>
            <a:ext cx="7141633" cy="6096000"/>
          </a:xfrm>
          <a:custGeom>
            <a:avLst/>
            <a:gdLst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0 w 5356225"/>
              <a:gd name="connsiteY6" fmla="*/ 4572000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2925147 w 5356225"/>
              <a:gd name="connsiteY6" fmla="*/ 2430624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289041 w 5356225"/>
              <a:gd name="connsiteY6" fmla="*/ 2206689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820886 w 5356225"/>
              <a:gd name="connsiteY6" fmla="*/ 1870787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359021 w 5356225"/>
              <a:gd name="connsiteY6" fmla="*/ 2006081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59021 w 5356225"/>
              <a:gd name="connsiteY5" fmla="*/ 2006081 h 4572000"/>
              <a:gd name="connsiteX6" fmla="*/ 0 w 5356225"/>
              <a:gd name="connsiteY6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99502 w 5356225"/>
              <a:gd name="connsiteY5" fmla="*/ 1975124 h 4572000"/>
              <a:gd name="connsiteX6" fmla="*/ 0 w 5356225"/>
              <a:gd name="connsiteY6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59020 w 5356225"/>
              <a:gd name="connsiteY5" fmla="*/ 2013224 h 4572000"/>
              <a:gd name="connsiteX6" fmla="*/ 0 w 5356225"/>
              <a:gd name="connsiteY6" fmla="*/ 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56225" h="4572000">
                <a:moveTo>
                  <a:pt x="0" y="0"/>
                </a:moveTo>
                <a:lnTo>
                  <a:pt x="5356225" y="0"/>
                </a:lnTo>
                <a:lnTo>
                  <a:pt x="5356225" y="0"/>
                </a:lnTo>
                <a:lnTo>
                  <a:pt x="5356225" y="4572000"/>
                </a:lnTo>
                <a:lnTo>
                  <a:pt x="5356225" y="4572000"/>
                </a:lnTo>
                <a:lnTo>
                  <a:pt x="3359020" y="201322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b="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4AF4EE99-6FEE-42D3-860B-599D4E558D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727200" y="6297084"/>
            <a:ext cx="4800600" cy="1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GB" altLang="en-US" sz="1067"/>
              <a:t>The Alan Turing Institut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E9E18ACC-BB54-453A-A3D9-AF5D1DCEA316}"/>
              </a:ext>
            </a:extLst>
          </p:cNvPr>
          <p:cNvCxnSpPr/>
          <p:nvPr userDrawn="1"/>
        </p:nvCxnSpPr>
        <p:spPr>
          <a:xfrm>
            <a:off x="575734" y="6288617"/>
            <a:ext cx="110405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5733" y="2516989"/>
            <a:ext cx="8304576" cy="816000"/>
          </a:xfrm>
        </p:spPr>
        <p:txBody>
          <a:bodyPr/>
          <a:lstStyle>
            <a:lvl1pPr>
              <a:lnSpc>
                <a:spcPct val="100000"/>
              </a:lnSpc>
              <a:defRPr sz="4533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D2BA7735-2333-43F4-B2BF-F926BE4CC1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3683742-5251-4929-90E0-2918DEC7220D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8DEFB274-1493-45D9-ACFC-CEDDDB96F5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8FBAC-47EC-49AB-B823-5197C67F076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4FC0F6C-55F0-4536-8E87-B69AC1305A87}"/>
              </a:ext>
            </a:extLst>
          </p:cNvPr>
          <p:cNvSpPr/>
          <p:nvPr userDrawn="1"/>
        </p:nvSpPr>
        <p:spPr>
          <a:xfrm>
            <a:off x="575733" y="2447691"/>
            <a:ext cx="8304576" cy="9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646808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 Polygon (dark d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4">
            <a:extLst>
              <a:ext uri="{FF2B5EF4-FFF2-40B4-BE49-F238E27FC236}">
                <a16:creationId xmlns:a16="http://schemas.microsoft.com/office/drawing/2014/main" id="{8EE18E70-7502-4E0F-8EC1-1C1B9EE726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727200" y="6297084"/>
            <a:ext cx="4800600" cy="1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GB" altLang="en-US" sz="1067">
                <a:solidFill>
                  <a:schemeClr val="bg1"/>
                </a:solidFill>
              </a:rPr>
              <a:t>The Alan Turing Institut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0C394799-DA55-420D-9FFF-2A9FEBFE55AF}"/>
              </a:ext>
            </a:extLst>
          </p:cNvPr>
          <p:cNvCxnSpPr/>
          <p:nvPr userDrawn="1"/>
        </p:nvCxnSpPr>
        <p:spPr>
          <a:xfrm>
            <a:off x="575734" y="6288617"/>
            <a:ext cx="1104053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1" descr="ATI_logo_white.ai">
            <a:extLst>
              <a:ext uri="{FF2B5EF4-FFF2-40B4-BE49-F238E27FC236}">
                <a16:creationId xmlns:a16="http://schemas.microsoft.com/office/drawing/2014/main" id="{AC5B6B32-AC06-4123-B59B-DEA7C560C8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734" y="575734"/>
            <a:ext cx="1841500" cy="768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5050368" y="0"/>
            <a:ext cx="7141633" cy="6096000"/>
          </a:xfrm>
          <a:custGeom>
            <a:avLst/>
            <a:gdLst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0 w 5356225"/>
              <a:gd name="connsiteY6" fmla="*/ 4572000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2925147 w 5356225"/>
              <a:gd name="connsiteY6" fmla="*/ 2430624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289041 w 5356225"/>
              <a:gd name="connsiteY6" fmla="*/ 2206689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820886 w 5356225"/>
              <a:gd name="connsiteY6" fmla="*/ 1870787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359021 w 5356225"/>
              <a:gd name="connsiteY6" fmla="*/ 2006081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59021 w 5356225"/>
              <a:gd name="connsiteY5" fmla="*/ 2006081 h 4572000"/>
              <a:gd name="connsiteX6" fmla="*/ 0 w 5356225"/>
              <a:gd name="connsiteY6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99502 w 5356225"/>
              <a:gd name="connsiteY5" fmla="*/ 1975124 h 4572000"/>
              <a:gd name="connsiteX6" fmla="*/ 0 w 5356225"/>
              <a:gd name="connsiteY6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59020 w 5356225"/>
              <a:gd name="connsiteY5" fmla="*/ 2013224 h 4572000"/>
              <a:gd name="connsiteX6" fmla="*/ 0 w 5356225"/>
              <a:gd name="connsiteY6" fmla="*/ 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56225" h="4572000">
                <a:moveTo>
                  <a:pt x="0" y="0"/>
                </a:moveTo>
                <a:lnTo>
                  <a:pt x="5356225" y="0"/>
                </a:lnTo>
                <a:lnTo>
                  <a:pt x="5356225" y="0"/>
                </a:lnTo>
                <a:lnTo>
                  <a:pt x="5356225" y="4572000"/>
                </a:lnTo>
                <a:lnTo>
                  <a:pt x="5356225" y="4572000"/>
                </a:lnTo>
                <a:lnTo>
                  <a:pt x="3359020" y="201322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Date Placeholder 1">
            <a:extLst>
              <a:ext uri="{FF2B5EF4-FFF2-40B4-BE49-F238E27FC236}">
                <a16:creationId xmlns:a16="http://schemas.microsoft.com/office/drawing/2014/main" id="{9B561648-857D-4B6B-8706-B5D4072277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341E90-B792-4655-B331-B42CDD2774EF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310EE622-E353-4CD0-8370-7639E185E4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4FA6F94-6CA3-486A-85D9-F6DBC7AB311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4C1BDB-33CC-4BEF-A547-6A55FA12790D}"/>
              </a:ext>
            </a:extLst>
          </p:cNvPr>
          <p:cNvSpPr/>
          <p:nvPr userDrawn="1"/>
        </p:nvSpPr>
        <p:spPr>
          <a:xfrm>
            <a:off x="575733" y="2447691"/>
            <a:ext cx="8304576" cy="9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F4CF05EA-F898-4007-AD46-0661D2E50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2516989"/>
            <a:ext cx="8304576" cy="816000"/>
          </a:xfrm>
        </p:spPr>
        <p:txBody>
          <a:bodyPr/>
          <a:lstStyle>
            <a:lvl1pPr>
              <a:lnSpc>
                <a:spcPct val="100000"/>
              </a:lnSpc>
              <a:defRPr sz="4533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37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>
            <a:extLst>
              <a:ext uri="{FF2B5EF4-FFF2-40B4-BE49-F238E27FC236}">
                <a16:creationId xmlns:a16="http://schemas.microsoft.com/office/drawing/2014/main" id="{871C8010-C10A-4680-87CD-8A2A30BCE24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727200" y="6297084"/>
            <a:ext cx="4800600" cy="1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GB" altLang="en-US" sz="1067">
                <a:solidFill>
                  <a:schemeClr val="bg1"/>
                </a:solidFill>
              </a:rPr>
              <a:t>The Alan Turing Institute</a:t>
            </a:r>
          </a:p>
        </p:txBody>
      </p:sp>
      <p:cxnSp>
        <p:nvCxnSpPr>
          <p:cNvPr id="5" name="Straight Connector 5">
            <a:extLst>
              <a:ext uri="{FF2B5EF4-FFF2-40B4-BE49-F238E27FC236}">
                <a16:creationId xmlns:a16="http://schemas.microsoft.com/office/drawing/2014/main" id="{8371B85C-0188-4221-8821-B68670C6C3FA}"/>
              </a:ext>
            </a:extLst>
          </p:cNvPr>
          <p:cNvCxnSpPr/>
          <p:nvPr userDrawn="1"/>
        </p:nvCxnSpPr>
        <p:spPr>
          <a:xfrm>
            <a:off x="575734" y="6288617"/>
            <a:ext cx="1104053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D789B564-B65F-4C15-BAD8-3C1B8B545D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F123749-D969-4DD2-9868-2215C26833D4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A1CB9F07-C025-4D57-80FD-D6BDBC2D84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CAE0F74-7337-4072-91EA-E6767868A12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2E6F1581-B58A-429C-8271-FD022B15C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6F1A75-16D6-4BC8-B120-1A5EA3D437FF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686234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F5B9C085-8AC3-4268-A366-B29751EB4E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FBA732A-1546-4313-975B-EC42DC7D6814}" type="datetime1">
              <a:rPr lang="en-US" smtClean="0"/>
              <a:t>3/31/2020</a:t>
            </a:fld>
            <a:endParaRPr lang="en-GB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7F7D7AC-845A-4E23-94DD-FD72BA0F00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EE291-2B04-4E73-B2CF-D9C06A3805F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46458DB0-81E4-473C-8F05-E673AC6AA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DD2D0D-BFE2-4B5F-B262-A88AE171CB5E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1702515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DDE1E0-EE2C-45DE-9148-0261E27AE51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CD2FD7-70C6-4461-AC83-43B854802DDA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00508B-71A0-427E-8E7A-E086E3EDCF4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3F4AA-6BDB-435B-B70F-96D631AC163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E0BBD1-F037-4859-9F9A-032B9CA15F4B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2672840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20"/>
            <a:ext cx="9865749" cy="4246861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50" indent="-380981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25" indent="-30478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493" indent="-30478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062" indent="-30478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2"/>
            <a:ext cx="28448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888282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575986" indent="-335992">
              <a:defRPr/>
            </a:lvl3pPr>
            <a:lvl4pPr marL="1151971" indent="-335992">
              <a:defRPr/>
            </a:lvl4pPr>
            <a:lvl5pPr marL="1727957" indent="-335992">
              <a:defRPr/>
            </a:lvl5pPr>
            <a:lvl6pPr indent="-335992">
              <a:defRPr/>
            </a:lvl6pPr>
            <a:lvl7pPr indent="-335992">
              <a:defRPr/>
            </a:lvl7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22BAAF-63B8-4AB8-8C6A-3CE7F66DB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94DEC-B7DE-4B97-A7E2-9CB8110B0875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AC404C7-7B93-412B-8DC9-E56CD266AB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DA4729-CA73-46FD-B7FB-3083EDFB8E2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681CA01A-567E-48A3-8D45-58C342F8A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2ABB75-115E-465D-B19F-A054C4049C7D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945955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5999" y="576000"/>
            <a:ext cx="11040000" cy="3168000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200" b="0" baseline="0"/>
            </a:lvl1pPr>
            <a:lvl2pPr>
              <a:defRPr sz="2400" b="1"/>
            </a:lvl2pPr>
            <a:lvl3pPr marL="0" indent="0">
              <a:buFontTx/>
              <a:buNone/>
              <a:defRPr sz="2400"/>
            </a:lvl3pPr>
            <a:lvl4pPr marL="623984" indent="-311992">
              <a:defRPr sz="2400"/>
            </a:lvl4pPr>
            <a:lvl5pPr marL="935977" indent="-311992">
              <a:defRPr sz="2400"/>
            </a:lvl5pPr>
            <a:lvl6pPr>
              <a:defRPr sz="2400"/>
            </a:lvl6pPr>
            <a:lvl7pPr>
              <a:defRPr sz="2400"/>
            </a:lvl7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76000" y="2040000"/>
            <a:ext cx="2880000" cy="72000"/>
          </a:xfrm>
          <a:solidFill>
            <a:schemeClr val="tx1"/>
          </a:solidFill>
        </p:spPr>
        <p:txBody>
          <a:bodyPr/>
          <a:lstStyle>
            <a:lvl1pPr>
              <a:defRPr sz="1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76000" y="4128000"/>
            <a:ext cx="1440000" cy="1440000"/>
          </a:xfrm>
        </p:spPr>
        <p:txBody>
          <a:bodyPr/>
          <a:lstStyle>
            <a:lvl1pPr>
              <a:defRPr sz="1333"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416000" y="4128000"/>
            <a:ext cx="1440000" cy="1440000"/>
          </a:xfrm>
        </p:spPr>
        <p:txBody>
          <a:bodyPr/>
          <a:lstStyle>
            <a:lvl1pPr>
              <a:defRPr sz="1333"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336000" y="4128000"/>
            <a:ext cx="1440000" cy="1440000"/>
          </a:xfrm>
        </p:spPr>
        <p:txBody>
          <a:bodyPr/>
          <a:lstStyle>
            <a:lvl1pPr>
              <a:defRPr sz="1333"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256000" y="4128000"/>
            <a:ext cx="1440000" cy="1440000"/>
          </a:xfrm>
        </p:spPr>
        <p:txBody>
          <a:bodyPr/>
          <a:lstStyle>
            <a:lvl1pPr>
              <a:defRPr sz="1333"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10176000" y="4128000"/>
            <a:ext cx="1440000" cy="1440000"/>
          </a:xfrm>
        </p:spPr>
        <p:txBody>
          <a:bodyPr/>
          <a:lstStyle>
            <a:lvl1pPr>
              <a:defRPr sz="1333"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2496000" y="4128000"/>
            <a:ext cx="1440000" cy="1440000"/>
          </a:xfrm>
        </p:spPr>
        <p:txBody>
          <a:bodyPr/>
          <a:lstStyle>
            <a:lvl1pPr>
              <a:defRPr sz="1333" b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25C8C3B-1B48-4871-A27A-E21F2C18FFF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7B037-EADE-4FAE-91C0-80DCF89985AE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B452863-23BB-408C-8690-5ACA294022B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013DD-1452-4B0F-9E7A-AB6E0392C2A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D8D25E-5D4A-4348-9095-DFA43477E15C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4163924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8ECBD2-724D-44E0-B506-603A94A123C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1E98C5-DF07-4A9B-8796-005250B528B3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4A33973-F439-4630-9F01-06C4371A237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05BD0D-EBF5-429D-BD54-7FC942F384E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3B4455-0CE4-4CC6-86D1-485B27B50035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A2A60ACF-2223-4A15-91FB-C09331069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0698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000" y="1632000"/>
            <a:ext cx="5232000" cy="4320000"/>
          </a:xfrm>
        </p:spPr>
        <p:txBody>
          <a:bodyPr/>
          <a:lstStyle>
            <a:lvl1pPr>
              <a:defRPr sz="1733"/>
            </a:lvl1pPr>
            <a:lvl2pPr>
              <a:defRPr sz="1733"/>
            </a:lvl2pPr>
            <a:lvl3pPr indent="-239994">
              <a:defRPr sz="1733"/>
            </a:lvl3pPr>
            <a:lvl4pPr indent="-239994">
              <a:defRPr sz="1733"/>
            </a:lvl4pPr>
            <a:lvl5pPr indent="-239994">
              <a:defRPr sz="1733"/>
            </a:lvl5pPr>
            <a:lvl6pPr indent="-239994">
              <a:defRPr sz="1733" baseline="0"/>
            </a:lvl6pPr>
            <a:lvl7pPr indent="-239994">
              <a:defRPr sz="1733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000" y="1632000"/>
            <a:ext cx="5232000" cy="4320000"/>
          </a:xfrm>
        </p:spPr>
        <p:txBody>
          <a:bodyPr/>
          <a:lstStyle>
            <a:lvl1pPr>
              <a:defRPr sz="1733"/>
            </a:lvl1pPr>
            <a:lvl2pPr>
              <a:defRPr sz="1733"/>
            </a:lvl2pPr>
            <a:lvl3pPr indent="-239994">
              <a:defRPr sz="1733"/>
            </a:lvl3pPr>
            <a:lvl4pPr indent="-239994">
              <a:defRPr sz="1733"/>
            </a:lvl4pPr>
            <a:lvl5pPr indent="-239994">
              <a:defRPr sz="1733" baseline="0"/>
            </a:lvl5pPr>
            <a:lvl6pPr indent="-239994">
              <a:defRPr sz="1733"/>
            </a:lvl6pPr>
            <a:lvl7pPr indent="-239994">
              <a:defRPr sz="1733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BCA3FE1-876B-4B9F-8344-8F7183389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D954E-7EF5-4303-BCE5-C30C3B0E54E1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A7202A-1758-49DC-8055-0F9FACFCE9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FA4FC-8334-40DA-9595-BE83E1ECD18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93054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>
            <a:extLst>
              <a:ext uri="{FF2B5EF4-FFF2-40B4-BE49-F238E27FC236}">
                <a16:creationId xmlns:a16="http://schemas.microsoft.com/office/drawing/2014/main" id="{676DD3BB-A8C8-44E0-85A7-8F180878BA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727200" y="6297084"/>
            <a:ext cx="4800600" cy="1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GB" altLang="en-US" sz="1067">
                <a:solidFill>
                  <a:schemeClr val="bg1"/>
                </a:solidFill>
              </a:rPr>
              <a:t>The Alan Turing Institute</a:t>
            </a:r>
          </a:p>
        </p:txBody>
      </p:sp>
      <p:cxnSp>
        <p:nvCxnSpPr>
          <p:cNvPr id="5" name="Straight Connector 5">
            <a:extLst>
              <a:ext uri="{FF2B5EF4-FFF2-40B4-BE49-F238E27FC236}">
                <a16:creationId xmlns:a16="http://schemas.microsoft.com/office/drawing/2014/main" id="{66A13792-893F-453A-854B-23B09BC6C1AF}"/>
              </a:ext>
            </a:extLst>
          </p:cNvPr>
          <p:cNvCxnSpPr/>
          <p:nvPr userDrawn="1"/>
        </p:nvCxnSpPr>
        <p:spPr>
          <a:xfrm>
            <a:off x="575734" y="6288617"/>
            <a:ext cx="1104053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 descr="ATI_logo_white.ai">
            <a:extLst>
              <a:ext uri="{FF2B5EF4-FFF2-40B4-BE49-F238E27FC236}">
                <a16:creationId xmlns:a16="http://schemas.microsoft.com/office/drawing/2014/main" id="{9DF29087-D290-4B3A-A800-022C8840AE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609600"/>
            <a:ext cx="1610784" cy="670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6000" y="4128000"/>
            <a:ext cx="7680000" cy="1200000"/>
          </a:xfrm>
        </p:spPr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  <a:lvl2pPr marL="311992" indent="-311992">
              <a:buFont typeface="Arial" pitchFamily="34" charset="0"/>
              <a:buChar char="–"/>
              <a:defRPr sz="2400">
                <a:solidFill>
                  <a:schemeClr val="bg1"/>
                </a:solidFill>
              </a:defRPr>
            </a:lvl2pPr>
            <a:lvl3pPr marL="623984">
              <a:defRPr sz="2400">
                <a:solidFill>
                  <a:schemeClr val="bg1"/>
                </a:solidFill>
              </a:defRPr>
            </a:lvl3pPr>
            <a:lvl4pPr marL="935977">
              <a:defRPr sz="2400">
                <a:solidFill>
                  <a:schemeClr val="bg1"/>
                </a:solidFill>
              </a:defRPr>
            </a:lvl4pPr>
            <a:lvl5pPr marL="1247969"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576000" y="4008000"/>
            <a:ext cx="4056000" cy="72000"/>
          </a:xfrm>
          <a:solidFill>
            <a:schemeClr val="bg1"/>
          </a:solidFill>
        </p:spPr>
        <p:txBody>
          <a:bodyPr/>
          <a:lstStyle>
            <a:lvl1pPr>
              <a:defRPr sz="1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F33FD4B3-D552-4731-A7AF-1C3D4533A42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25BA17C-A6A9-44B0-B24E-F5B9F7A14D85}" type="datetime1">
              <a:rPr lang="en-US" smtClean="0"/>
              <a:t>3/31/2020</a:t>
            </a:fld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AD7EC05-A11A-4736-92A0-3F65A9E76EA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C439F6A-78F2-4692-956A-FE4F6A87BD0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12404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1710ECF-1F4C-404C-9FAB-BFCD8A35F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2C7649-B18B-45FF-8C50-4F96B849356E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188A90A-AE44-495E-9E36-6C9137BAFD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0F2F6-87B3-49D6-9633-F12FBF454F0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2246877A-178E-471D-B307-49D284631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49CC3A-F852-411D-B0EE-0702C531C81C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12162865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1C6A178-01F4-4197-A4ED-2541F5E32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4D95BA-5C55-48B1-B4CD-55DD6A06884B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B4D1037-5046-4EC1-82FA-1EAAE64E2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BBF90B-B6CB-4080-A483-201BC832195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074111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olygon (light b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5050368" y="0"/>
            <a:ext cx="7141633" cy="6096000"/>
          </a:xfrm>
          <a:custGeom>
            <a:avLst/>
            <a:gdLst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0 w 5356225"/>
              <a:gd name="connsiteY6" fmla="*/ 4572000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2925147 w 5356225"/>
              <a:gd name="connsiteY6" fmla="*/ 2430624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289041 w 5356225"/>
              <a:gd name="connsiteY6" fmla="*/ 2206689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820886 w 5356225"/>
              <a:gd name="connsiteY6" fmla="*/ 1870787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0 w 5356225"/>
              <a:gd name="connsiteY5" fmla="*/ 4572000 h 4572000"/>
              <a:gd name="connsiteX6" fmla="*/ 3359021 w 5356225"/>
              <a:gd name="connsiteY6" fmla="*/ 2006081 h 4572000"/>
              <a:gd name="connsiteX7" fmla="*/ 0 w 5356225"/>
              <a:gd name="connsiteY7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59021 w 5356225"/>
              <a:gd name="connsiteY5" fmla="*/ 2006081 h 4572000"/>
              <a:gd name="connsiteX6" fmla="*/ 0 w 5356225"/>
              <a:gd name="connsiteY6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99502 w 5356225"/>
              <a:gd name="connsiteY5" fmla="*/ 1975124 h 4572000"/>
              <a:gd name="connsiteX6" fmla="*/ 0 w 5356225"/>
              <a:gd name="connsiteY6" fmla="*/ 0 h 4572000"/>
              <a:gd name="connsiteX0" fmla="*/ 0 w 5356225"/>
              <a:gd name="connsiteY0" fmla="*/ 0 h 4572000"/>
              <a:gd name="connsiteX1" fmla="*/ 5356225 w 5356225"/>
              <a:gd name="connsiteY1" fmla="*/ 0 h 4572000"/>
              <a:gd name="connsiteX2" fmla="*/ 5356225 w 5356225"/>
              <a:gd name="connsiteY2" fmla="*/ 0 h 4572000"/>
              <a:gd name="connsiteX3" fmla="*/ 5356225 w 5356225"/>
              <a:gd name="connsiteY3" fmla="*/ 4572000 h 4572000"/>
              <a:gd name="connsiteX4" fmla="*/ 5356225 w 5356225"/>
              <a:gd name="connsiteY4" fmla="*/ 4572000 h 4572000"/>
              <a:gd name="connsiteX5" fmla="*/ 3359020 w 5356225"/>
              <a:gd name="connsiteY5" fmla="*/ 2013224 h 4572000"/>
              <a:gd name="connsiteX6" fmla="*/ 0 w 5356225"/>
              <a:gd name="connsiteY6" fmla="*/ 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56225" h="4572000">
                <a:moveTo>
                  <a:pt x="0" y="0"/>
                </a:moveTo>
                <a:lnTo>
                  <a:pt x="5356225" y="0"/>
                </a:lnTo>
                <a:lnTo>
                  <a:pt x="5356225" y="0"/>
                </a:lnTo>
                <a:lnTo>
                  <a:pt x="5356225" y="4572000"/>
                </a:lnTo>
                <a:lnTo>
                  <a:pt x="5356225" y="4572000"/>
                </a:lnTo>
                <a:lnTo>
                  <a:pt x="3359020" y="20132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67E9E9-2E9C-447B-8931-6866408E1786}" type="datetime1">
              <a:rPr lang="en-US" smtClean="0"/>
              <a:t>3/31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728000" y="6297600"/>
            <a:ext cx="4800000" cy="192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106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Alan Turing Institut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76000" y="6288000"/>
            <a:ext cx="1104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6000" y="2640000"/>
            <a:ext cx="11040000" cy="816000"/>
          </a:xfrm>
        </p:spPr>
        <p:txBody>
          <a:bodyPr/>
          <a:lstStyle>
            <a:lvl1pPr>
              <a:defRPr sz="7333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6000" y="3552000"/>
            <a:ext cx="11040000" cy="720000"/>
          </a:xfrm>
        </p:spPr>
        <p:txBody>
          <a:bodyPr/>
          <a:lstStyle>
            <a:lvl1pPr marL="0" indent="0" algn="l">
              <a:lnSpc>
                <a:spcPct val="85000"/>
              </a:lnSpc>
              <a:buNone/>
              <a:defRPr sz="4533" b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18" y="579967"/>
            <a:ext cx="1841733" cy="768000"/>
          </a:xfrm>
          <a:prstGeom prst="rect">
            <a:avLst/>
          </a:prstGeom>
        </p:spPr>
      </p:pic>
      <p:sp>
        <p:nvSpPr>
          <p:cNvPr id="16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" y="2472000"/>
            <a:ext cx="11040000" cy="57600"/>
          </a:xfrm>
          <a:solidFill>
            <a:schemeClr val="tx1"/>
          </a:solidFill>
        </p:spPr>
        <p:txBody>
          <a:bodyPr/>
          <a:lstStyle>
            <a:lvl1pPr>
              <a:defRPr sz="133" b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6300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>
            <a:extLst>
              <a:ext uri="{FF2B5EF4-FFF2-40B4-BE49-F238E27FC236}">
                <a16:creationId xmlns:a16="http://schemas.microsoft.com/office/drawing/2014/main" id="{676DD3BB-A8C8-44E0-85A7-8F180878BA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727200" y="6297084"/>
            <a:ext cx="4800600" cy="1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GB" altLang="en-US" sz="1067" dirty="0">
                <a:solidFill>
                  <a:schemeClr val="bg1"/>
                </a:solidFill>
              </a:rPr>
              <a:t>The Alan Turing Institute</a:t>
            </a:r>
          </a:p>
        </p:txBody>
      </p:sp>
      <p:cxnSp>
        <p:nvCxnSpPr>
          <p:cNvPr id="5" name="Straight Connector 5">
            <a:extLst>
              <a:ext uri="{FF2B5EF4-FFF2-40B4-BE49-F238E27FC236}">
                <a16:creationId xmlns:a16="http://schemas.microsoft.com/office/drawing/2014/main" id="{66A13792-893F-453A-854B-23B09BC6C1AF}"/>
              </a:ext>
            </a:extLst>
          </p:cNvPr>
          <p:cNvCxnSpPr/>
          <p:nvPr userDrawn="1"/>
        </p:nvCxnSpPr>
        <p:spPr>
          <a:xfrm>
            <a:off x="575734" y="6288617"/>
            <a:ext cx="1104053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 descr="ATI_logo_white.ai">
            <a:extLst>
              <a:ext uri="{FF2B5EF4-FFF2-40B4-BE49-F238E27FC236}">
                <a16:creationId xmlns:a16="http://schemas.microsoft.com/office/drawing/2014/main" id="{9DF29087-D290-4B3A-A800-022C8840AE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609600"/>
            <a:ext cx="1610784" cy="670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F33FD4B3-D552-4731-A7AF-1C3D4533A42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8CE6C3F-CA1F-4A94-919E-EF0EA6251EFE}" type="datetime1">
              <a:rPr lang="en-US" smtClean="0"/>
              <a:t>3/31/2020</a:t>
            </a:fld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AD7EC05-A11A-4736-92A0-3F65A9E76EA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C439F6A-78F2-4692-956A-FE4F6A87BD0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509E7D-82C7-45D3-9892-AC18E45BA323}"/>
              </a:ext>
            </a:extLst>
          </p:cNvPr>
          <p:cNvSpPr/>
          <p:nvPr userDrawn="1"/>
        </p:nvSpPr>
        <p:spPr>
          <a:xfrm>
            <a:off x="575733" y="4008173"/>
            <a:ext cx="1775851" cy="9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0C8032-9544-4AC4-9DCC-C3715FEA9979}"/>
              </a:ext>
            </a:extLst>
          </p:cNvPr>
          <p:cNvSpPr txBox="1"/>
          <p:nvPr userDrawn="1"/>
        </p:nvSpPr>
        <p:spPr>
          <a:xfrm>
            <a:off x="575733" y="4127500"/>
            <a:ext cx="1775851" cy="1536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ring.ac.uk</a:t>
            </a:r>
            <a:b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@turinginst</a:t>
            </a:r>
          </a:p>
        </p:txBody>
      </p:sp>
    </p:spTree>
    <p:extLst>
      <p:ext uri="{BB962C8B-B14F-4D97-AF65-F5344CB8AC3E}">
        <p14:creationId xmlns:p14="http://schemas.microsoft.com/office/powerpoint/2010/main" val="1948586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03DC-2EE2-47ED-91DD-18BD04DB77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0B7881-693F-462E-B0A9-21781019D3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A6571-F96A-4E6B-A4B7-5ECAD2F79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CAE9C5-CE23-4A4D-AD31-D805C9124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1EED59-713E-483E-A6B1-087B9A09F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188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3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3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50" indent="-380981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25" indent="-304784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493" indent="-304784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062" indent="-304784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50" indent="-380981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25" indent="-304784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493" indent="-304784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062" indent="-304784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346410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57A66-0084-44B2-B5CF-6BBF68070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62EC99-79D1-4C4F-9922-AA090F8FB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978625-8360-47C8-8E45-96C307889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25D4B-6688-4769-AB27-84C45658F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32910-A666-4DEB-BBD1-289D3BC65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76777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EF4B0-0000-439D-ADE7-9DE3513AF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FA9C7A-45B8-4F5B-89BC-CD77523833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85E5AD-C645-4FEC-99AA-2DDE62B869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10E6C-2AFE-4E70-9232-260309EDEE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E10DE1-9486-44C0-B85F-F66630A83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9774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5AEFB-9804-4A7F-B88B-CB0643FC0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83E04-2405-40EF-BED0-50D126FEA7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C96F97-6797-41F2-8754-C79EAA0B62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DA580D-C174-4DA0-9CDE-D0354229E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1E309E-7E01-4F54-B852-ECA33ED1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521334-F0F8-4457-AB12-5247BC1CA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1650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D1DCD-E302-4ADF-80C0-4A1BB9281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EDD12A-F9AD-485D-BBFA-C22309EB34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A3EF13-B51C-41B1-A082-D483344534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79523F-7539-4BDD-B3A0-B322E9876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48499A-A4B5-4FE3-8021-3174D3947A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1D2511-CFE6-4B35-95F0-7A8DDD41D5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78C0D9-2506-4181-8C27-19A916A36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910F9A-8D69-4937-BB17-1C89F3354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62575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57B69-D993-4362-9D98-5C5A85276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DC7095-5832-4107-95CA-7386BD82D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8B951-B96D-4631-A7D1-0EB5A0DA4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3B5566-6F84-46CB-A912-07BB57D25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81724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BB7FD4-28C9-4F5A-AB8B-85A2258CB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A30879-B3F4-43D4-9D8D-49FC3BA843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5424BC-ED50-4496-8BBA-0F162933C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1593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A6974-C398-4263-981F-5FF078C17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054797-151F-4D2A-8731-1015E902D8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ABF2AE-23FE-4DCF-A935-607A09CDDD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7DC983-2301-4E82-B173-83E71A702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B9ABF6-8F8C-4011-8F78-EEF985726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0247F0-CDFF-45B7-892F-1A27D318A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6059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4DF06-6DD3-4997-9F2D-1980E9102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CC7A3-9E2A-4C76-BD0B-134C570C65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B1FA90-081E-42EF-B84B-F883A96D41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8E1A5A-E533-41EB-B5D0-DAA0965D4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83AE9E-0931-409F-A864-01601EF17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87C299-4F91-4148-B7E5-2D2AC308D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0704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43FCE-6D73-49AB-BB47-F8D205130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823FA9-1F73-41D2-B38B-D067E60470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9C2B8-F67E-4C5D-BFD2-89BFE89A8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561E4D-EF6C-4938-B4B8-330B3CC21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34863-70BA-4BA2-9E8C-788111BFA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4506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B5788E6-DB86-4595-B7CB-FB16FFC835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2B34F2-8C4B-4DE8-A4BD-B47771B88C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390AE7-27DB-44B2-81D1-8C7765508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AF6326-1742-4D55-AB5E-A1585B499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0D6A8F-629A-4E94-8D2E-C96121F47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0871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5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81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2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442399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lid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id="{F4CF05EA-F898-4007-AD46-0661D2E50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733" y="2913229"/>
            <a:ext cx="5804747" cy="76201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533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Slidedeck</a:t>
            </a:r>
            <a:r>
              <a:rPr lang="en-US" dirty="0"/>
              <a:t> title</a:t>
            </a:r>
            <a:endParaRPr lang="en-GB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2F9DB4-9D8E-427B-99DD-E998B980D507}"/>
              </a:ext>
            </a:extLst>
          </p:cNvPr>
          <p:cNvCxnSpPr>
            <a:cxnSpLocks/>
          </p:cNvCxnSpPr>
          <p:nvPr userDrawn="1"/>
        </p:nvCxnSpPr>
        <p:spPr>
          <a:xfrm>
            <a:off x="575733" y="2913229"/>
            <a:ext cx="5804747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C3458B68-B602-4B1E-8CDB-6CDDA6530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34" y="555605"/>
            <a:ext cx="2898985" cy="1270984"/>
          </a:xfrm>
          <a:prstGeom prst="rect">
            <a:avLst/>
          </a:prstGeom>
        </p:spPr>
      </p:pic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E7E58FB9-FEF2-4FAA-AB76-18AB01605D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5733" y="4960485"/>
            <a:ext cx="5804747" cy="605367"/>
          </a:xfrm>
        </p:spPr>
        <p:txBody>
          <a:bodyPr/>
          <a:lstStyle>
            <a:lvl1pPr marL="0" indent="0">
              <a:buNone/>
              <a:defRPr sz="37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endParaRPr lang="en-GB" dirty="0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880E1784-6502-40DF-8151-F6A3B84DF5A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35830" y="1"/>
            <a:ext cx="4658285" cy="6098116"/>
          </a:xfrm>
          <a:custGeom>
            <a:avLst/>
            <a:gdLst>
              <a:gd name="connsiteX0" fmla="*/ 0 w 3816350"/>
              <a:gd name="connsiteY0" fmla="*/ 0 h 3240087"/>
              <a:gd name="connsiteX1" fmla="*/ 3816350 w 3816350"/>
              <a:gd name="connsiteY1" fmla="*/ 0 h 3240087"/>
              <a:gd name="connsiteX2" fmla="*/ 3816350 w 3816350"/>
              <a:gd name="connsiteY2" fmla="*/ 3240087 h 3240087"/>
              <a:gd name="connsiteX3" fmla="*/ 0 w 3816350"/>
              <a:gd name="connsiteY3" fmla="*/ 3240087 h 3240087"/>
              <a:gd name="connsiteX4" fmla="*/ 0 w 3816350"/>
              <a:gd name="connsiteY4" fmla="*/ 0 h 3240087"/>
              <a:gd name="connsiteX0" fmla="*/ 685800 w 3816350"/>
              <a:gd name="connsiteY0" fmla="*/ 0 h 3240087"/>
              <a:gd name="connsiteX1" fmla="*/ 3816350 w 3816350"/>
              <a:gd name="connsiteY1" fmla="*/ 0 h 3240087"/>
              <a:gd name="connsiteX2" fmla="*/ 3816350 w 3816350"/>
              <a:gd name="connsiteY2" fmla="*/ 3240087 h 3240087"/>
              <a:gd name="connsiteX3" fmla="*/ 0 w 3816350"/>
              <a:gd name="connsiteY3" fmla="*/ 3240087 h 3240087"/>
              <a:gd name="connsiteX4" fmla="*/ 685800 w 3816350"/>
              <a:gd name="connsiteY4" fmla="*/ 0 h 3240087"/>
              <a:gd name="connsiteX0" fmla="*/ 1892300 w 3816350"/>
              <a:gd name="connsiteY0" fmla="*/ 0 h 3240087"/>
              <a:gd name="connsiteX1" fmla="*/ 3816350 w 3816350"/>
              <a:gd name="connsiteY1" fmla="*/ 0 h 3240087"/>
              <a:gd name="connsiteX2" fmla="*/ 3816350 w 3816350"/>
              <a:gd name="connsiteY2" fmla="*/ 3240087 h 3240087"/>
              <a:gd name="connsiteX3" fmla="*/ 0 w 3816350"/>
              <a:gd name="connsiteY3" fmla="*/ 3240087 h 3240087"/>
              <a:gd name="connsiteX4" fmla="*/ 1892300 w 3816350"/>
              <a:gd name="connsiteY4" fmla="*/ 0 h 3240087"/>
              <a:gd name="connsiteX0" fmla="*/ 1206500 w 3130550"/>
              <a:gd name="connsiteY0" fmla="*/ 0 h 3240087"/>
              <a:gd name="connsiteX1" fmla="*/ 3130550 w 3130550"/>
              <a:gd name="connsiteY1" fmla="*/ 0 h 3240087"/>
              <a:gd name="connsiteX2" fmla="*/ 3130550 w 3130550"/>
              <a:gd name="connsiteY2" fmla="*/ 3240087 h 3240087"/>
              <a:gd name="connsiteX3" fmla="*/ 0 w 3130550"/>
              <a:gd name="connsiteY3" fmla="*/ 1754187 h 3240087"/>
              <a:gd name="connsiteX4" fmla="*/ 1206500 w 3130550"/>
              <a:gd name="connsiteY4" fmla="*/ 0 h 3240087"/>
              <a:gd name="connsiteX0" fmla="*/ 1822450 w 3746500"/>
              <a:gd name="connsiteY0" fmla="*/ 0 h 3240087"/>
              <a:gd name="connsiteX1" fmla="*/ 3746500 w 3746500"/>
              <a:gd name="connsiteY1" fmla="*/ 0 h 3240087"/>
              <a:gd name="connsiteX2" fmla="*/ 3746500 w 3746500"/>
              <a:gd name="connsiteY2" fmla="*/ 3240087 h 3240087"/>
              <a:gd name="connsiteX3" fmla="*/ 0 w 3746500"/>
              <a:gd name="connsiteY3" fmla="*/ 2154237 h 3240087"/>
              <a:gd name="connsiteX4" fmla="*/ 1822450 w 3746500"/>
              <a:gd name="connsiteY4" fmla="*/ 0 h 3240087"/>
              <a:gd name="connsiteX0" fmla="*/ 1822450 w 3752850"/>
              <a:gd name="connsiteY0" fmla="*/ 0 h 4097337"/>
              <a:gd name="connsiteX1" fmla="*/ 3746500 w 3752850"/>
              <a:gd name="connsiteY1" fmla="*/ 0 h 4097337"/>
              <a:gd name="connsiteX2" fmla="*/ 3752850 w 3752850"/>
              <a:gd name="connsiteY2" fmla="*/ 4097337 h 4097337"/>
              <a:gd name="connsiteX3" fmla="*/ 0 w 3752850"/>
              <a:gd name="connsiteY3" fmla="*/ 2154237 h 4097337"/>
              <a:gd name="connsiteX4" fmla="*/ 1822450 w 3752850"/>
              <a:gd name="connsiteY4" fmla="*/ 0 h 4097337"/>
              <a:gd name="connsiteX0" fmla="*/ 1682750 w 3613150"/>
              <a:gd name="connsiteY0" fmla="*/ 0 h 4097337"/>
              <a:gd name="connsiteX1" fmla="*/ 3606800 w 3613150"/>
              <a:gd name="connsiteY1" fmla="*/ 0 h 4097337"/>
              <a:gd name="connsiteX2" fmla="*/ 3613150 w 3613150"/>
              <a:gd name="connsiteY2" fmla="*/ 4097337 h 4097337"/>
              <a:gd name="connsiteX3" fmla="*/ 0 w 3613150"/>
              <a:gd name="connsiteY3" fmla="*/ 2014537 h 4097337"/>
              <a:gd name="connsiteX4" fmla="*/ 1682750 w 3613150"/>
              <a:gd name="connsiteY4" fmla="*/ 0 h 4097337"/>
              <a:gd name="connsiteX0" fmla="*/ 1682750 w 3613150"/>
              <a:gd name="connsiteY0" fmla="*/ 0 h 4573587"/>
              <a:gd name="connsiteX1" fmla="*/ 3606800 w 3613150"/>
              <a:gd name="connsiteY1" fmla="*/ 0 h 4573587"/>
              <a:gd name="connsiteX2" fmla="*/ 3613150 w 3613150"/>
              <a:gd name="connsiteY2" fmla="*/ 4573587 h 4573587"/>
              <a:gd name="connsiteX3" fmla="*/ 0 w 3613150"/>
              <a:gd name="connsiteY3" fmla="*/ 2014537 h 4573587"/>
              <a:gd name="connsiteX4" fmla="*/ 1682750 w 3613150"/>
              <a:gd name="connsiteY4" fmla="*/ 0 h 4573587"/>
              <a:gd name="connsiteX0" fmla="*/ 1682750 w 3610769"/>
              <a:gd name="connsiteY0" fmla="*/ 0 h 4573587"/>
              <a:gd name="connsiteX1" fmla="*/ 3606800 w 3610769"/>
              <a:gd name="connsiteY1" fmla="*/ 0 h 4573587"/>
              <a:gd name="connsiteX2" fmla="*/ 3610769 w 3610769"/>
              <a:gd name="connsiteY2" fmla="*/ 4573587 h 4573587"/>
              <a:gd name="connsiteX3" fmla="*/ 0 w 3610769"/>
              <a:gd name="connsiteY3" fmla="*/ 2014537 h 4573587"/>
              <a:gd name="connsiteX4" fmla="*/ 1682750 w 3610769"/>
              <a:gd name="connsiteY4" fmla="*/ 0 h 4573587"/>
              <a:gd name="connsiteX0" fmla="*/ 1682750 w 3607332"/>
              <a:gd name="connsiteY0" fmla="*/ 0 h 4573587"/>
              <a:gd name="connsiteX1" fmla="*/ 3606800 w 3607332"/>
              <a:gd name="connsiteY1" fmla="*/ 0 h 4573587"/>
              <a:gd name="connsiteX2" fmla="*/ 3606007 w 3607332"/>
              <a:gd name="connsiteY2" fmla="*/ 4573587 h 4573587"/>
              <a:gd name="connsiteX3" fmla="*/ 0 w 3607332"/>
              <a:gd name="connsiteY3" fmla="*/ 2014537 h 4573587"/>
              <a:gd name="connsiteX4" fmla="*/ 1682750 w 3607332"/>
              <a:gd name="connsiteY4" fmla="*/ 0 h 4573587"/>
              <a:gd name="connsiteX0" fmla="*/ 1682750 w 3608388"/>
              <a:gd name="connsiteY0" fmla="*/ 0 h 4573587"/>
              <a:gd name="connsiteX1" fmla="*/ 3606800 w 3608388"/>
              <a:gd name="connsiteY1" fmla="*/ 0 h 4573587"/>
              <a:gd name="connsiteX2" fmla="*/ 3608388 w 3608388"/>
              <a:gd name="connsiteY2" fmla="*/ 4573587 h 4573587"/>
              <a:gd name="connsiteX3" fmla="*/ 0 w 3608388"/>
              <a:gd name="connsiteY3" fmla="*/ 2014537 h 4573587"/>
              <a:gd name="connsiteX4" fmla="*/ 1682750 w 3608388"/>
              <a:gd name="connsiteY4" fmla="*/ 0 h 4573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8388" h="4573587">
                <a:moveTo>
                  <a:pt x="1682750" y="0"/>
                </a:moveTo>
                <a:lnTo>
                  <a:pt x="3606800" y="0"/>
                </a:lnTo>
                <a:cubicBezTo>
                  <a:pt x="3608917" y="1365779"/>
                  <a:pt x="3606271" y="3207808"/>
                  <a:pt x="3608388" y="4573587"/>
                </a:cubicBezTo>
                <a:lnTo>
                  <a:pt x="0" y="2014537"/>
                </a:lnTo>
                <a:lnTo>
                  <a:pt x="1682750" y="0"/>
                </a:lnTo>
                <a:close/>
              </a:path>
            </a:pathLst>
          </a:custGeom>
        </p:spPr>
        <p:txBody>
          <a:bodyPr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3pPr marL="241294" indent="0">
              <a:buNone/>
              <a:defRPr/>
            </a:lvl3pPr>
            <a:lvl4pPr marL="817013" indent="0">
              <a:buNone/>
              <a:defRPr/>
            </a:lvl4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icon to insert picture. Don’t change slide background colour on this layout</a:t>
            </a:r>
          </a:p>
        </p:txBody>
      </p:sp>
    </p:spTree>
    <p:extLst>
      <p:ext uri="{BB962C8B-B14F-4D97-AF65-F5344CB8AC3E}">
        <p14:creationId xmlns:p14="http://schemas.microsoft.com/office/powerpoint/2010/main" val="260200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">
          <p15:clr>
            <a:srgbClr val="FBAE40"/>
          </p15:clr>
        </p15:guide>
        <p15:guide id="3" orient="horz" pos="2981">
          <p15:clr>
            <a:srgbClr val="FBAE40"/>
          </p15:clr>
        </p15:guide>
        <p15:guide id="4" orient="horz" pos="259">
          <p15:clr>
            <a:srgbClr val="FBAE40"/>
          </p15:clr>
        </p15:guide>
        <p15:guide id="5" pos="5488">
          <p15:clr>
            <a:srgbClr val="FBAE40"/>
          </p15:clr>
        </p15:guide>
        <p15:guide id="6" pos="301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, bullets, image (Dark) (Al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514B48A-5D76-4651-AC28-8612610BAC93}"/>
              </a:ext>
            </a:extLst>
          </p:cNvPr>
          <p:cNvCxnSpPr>
            <a:cxnSpLocks/>
          </p:cNvCxnSpPr>
          <p:nvPr userDrawn="1"/>
        </p:nvCxnSpPr>
        <p:spPr>
          <a:xfrm>
            <a:off x="6388102" y="910739"/>
            <a:ext cx="5228167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8CE3D8B-96CC-4FD0-93BD-22311085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8101" y="910587"/>
            <a:ext cx="5228167" cy="726820"/>
          </a:xfrm>
        </p:spPr>
        <p:txBody>
          <a:bodyPr/>
          <a:lstStyle>
            <a:lvl1pPr marL="0" indent="0">
              <a:buNone/>
              <a:defRPr sz="3733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/>
              <a:t>Summary heading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57E95CB-6286-4E8D-8ABC-6A9BD85351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36879"/>
            <a:ext cx="5190067" cy="485432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FA79611A-8145-4287-999D-C17E624B80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88101" y="1726308"/>
            <a:ext cx="5228167" cy="4064891"/>
          </a:xfrm>
        </p:spPr>
        <p:txBody>
          <a:bodyPr/>
          <a:lstStyle>
            <a:lvl1pPr marL="383990" indent="-383990">
              <a:buFont typeface="Arial" panose="020B0604020202020204" pitchFamily="34" charset="0"/>
              <a:buChar char="–"/>
              <a:defRPr sz="37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 to 6 bullet point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293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981">
          <p15:clr>
            <a:srgbClr val="FBAE40"/>
          </p15:clr>
        </p15:guide>
        <p15:guide id="4" orient="horz" pos="259">
          <p15:clr>
            <a:srgbClr val="FBAE40"/>
          </p15:clr>
        </p15:guide>
        <p15:guide id="5" pos="5488">
          <p15:clr>
            <a:srgbClr val="FBAE40"/>
          </p15:clr>
        </p15:guide>
        <p15:guide id="6" pos="3016">
          <p15:clr>
            <a:srgbClr val="FBAE40"/>
          </p15:clr>
        </p15:guide>
        <p15:guide id="7" pos="2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ing, bullets,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514B48A-5D76-4651-AC28-8612610BAC93}"/>
              </a:ext>
            </a:extLst>
          </p:cNvPr>
          <p:cNvCxnSpPr>
            <a:cxnSpLocks/>
          </p:cNvCxnSpPr>
          <p:nvPr userDrawn="1"/>
        </p:nvCxnSpPr>
        <p:spPr>
          <a:xfrm>
            <a:off x="575734" y="937031"/>
            <a:ext cx="5228167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28CE3D8B-96CC-4FD0-93BD-22311085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733" y="936879"/>
            <a:ext cx="5228167" cy="726820"/>
          </a:xfrm>
        </p:spPr>
        <p:txBody>
          <a:bodyPr/>
          <a:lstStyle>
            <a:lvl1pPr marL="0" indent="0">
              <a:buNone/>
              <a:defRPr sz="3733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/>
              <a:t>Summary heading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A838B155-C9C2-4DB1-8588-E414A618F5F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1933" y="936879"/>
            <a:ext cx="5190067" cy="4854320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" name="Text Placeholder 25">
            <a:extLst>
              <a:ext uri="{FF2B5EF4-FFF2-40B4-BE49-F238E27FC236}">
                <a16:creationId xmlns:a16="http://schemas.microsoft.com/office/drawing/2014/main" id="{018247D9-5503-486A-97BE-69C90ACD67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5734" y="1767849"/>
            <a:ext cx="5228165" cy="4023349"/>
          </a:xfrm>
        </p:spPr>
        <p:txBody>
          <a:bodyPr/>
          <a:lstStyle>
            <a:lvl1pPr marL="383990" indent="-383990">
              <a:buFont typeface="Arial" panose="020B0604020202020204" pitchFamily="34" charset="0"/>
              <a:buChar char="–"/>
              <a:defRPr sz="37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 to 6 bullet point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47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">
          <p15:clr>
            <a:srgbClr val="FBAE40"/>
          </p15:clr>
        </p15:guide>
        <p15:guide id="3" orient="horz" pos="2981">
          <p15:clr>
            <a:srgbClr val="FBAE40"/>
          </p15:clr>
        </p15:guide>
        <p15:guide id="4" orient="horz" pos="259">
          <p15:clr>
            <a:srgbClr val="FBAE40"/>
          </p15:clr>
        </p15:guide>
        <p15:guide id="5" pos="2744">
          <p15:clr>
            <a:srgbClr val="FBAE40"/>
          </p15:clr>
        </p15:guide>
        <p15:guide id="6" pos="54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, no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id="{F4CF05EA-F898-4007-AD46-0661D2E50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734" y="2913229"/>
            <a:ext cx="11040533" cy="762016"/>
          </a:xfrm>
        </p:spPr>
        <p:txBody>
          <a:bodyPr/>
          <a:lstStyle>
            <a:lvl1pPr>
              <a:lnSpc>
                <a:spcPct val="100000"/>
              </a:lnSpc>
              <a:defRPr sz="4533" b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 title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2F9DB4-9D8E-427B-99DD-E998B980D507}"/>
              </a:ext>
            </a:extLst>
          </p:cNvPr>
          <p:cNvCxnSpPr>
            <a:cxnSpLocks/>
          </p:cNvCxnSpPr>
          <p:nvPr userDrawn="1"/>
        </p:nvCxnSpPr>
        <p:spPr>
          <a:xfrm>
            <a:off x="575734" y="2913229"/>
            <a:ext cx="1104053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699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">
          <p15:clr>
            <a:srgbClr val="FBAE40"/>
          </p15:clr>
        </p15:guide>
        <p15:guide id="3" orient="horz" pos="2981">
          <p15:clr>
            <a:srgbClr val="FBAE40"/>
          </p15:clr>
        </p15:guide>
        <p15:guide id="4" orient="horz" pos="259">
          <p15:clr>
            <a:srgbClr val="FBAE40"/>
          </p15:clr>
        </p15:guide>
        <p15:guide id="5" pos="5488">
          <p15:clr>
            <a:srgbClr val="FBAE40"/>
          </p15:clr>
        </p15:guide>
        <p15:guide id="6" pos="301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5733" y="452669"/>
            <a:ext cx="11040000" cy="816000"/>
          </a:xfrm>
        </p:spPr>
        <p:txBody>
          <a:bodyPr/>
          <a:lstStyle>
            <a:lvl1pPr>
              <a:lnSpc>
                <a:spcPct val="100000"/>
              </a:lnSpc>
              <a:defRPr sz="4267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DDE1E0-EE2C-45DE-9148-0261E27AE51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152B6-83C3-4567-96CF-D19AF203925A}" type="datetime1">
              <a:rPr lang="en-GB" smtClean="0"/>
              <a:t>31/03/2020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00508B-71A0-427E-8E7A-E086E3EDCF4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3F4AA-6BDB-435B-B70F-96D631AC163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E0BBD1-F037-4859-9F9A-032B9CA15F4B}"/>
              </a:ext>
            </a:extLst>
          </p:cNvPr>
          <p:cNvSpPr/>
          <p:nvPr userDrawn="1"/>
        </p:nvSpPr>
        <p:spPr>
          <a:xfrm>
            <a:off x="575733" y="456899"/>
            <a:ext cx="11040000" cy="3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32949805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images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id="{F4CF05EA-F898-4007-AD46-0661D2E50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6280" y="2705427"/>
            <a:ext cx="3065517" cy="42638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67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ext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22F9DB4-9D8E-427B-99DD-E998B980D507}"/>
              </a:ext>
            </a:extLst>
          </p:cNvPr>
          <p:cNvCxnSpPr>
            <a:cxnSpLocks/>
          </p:cNvCxnSpPr>
          <p:nvPr userDrawn="1"/>
        </p:nvCxnSpPr>
        <p:spPr>
          <a:xfrm>
            <a:off x="2446281" y="2705446"/>
            <a:ext cx="3065517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B42433C-D1E5-434C-A331-94DFD8E56D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46283" y="548217"/>
            <a:ext cx="3065517" cy="198011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DAFBE0-E4BE-49CE-B6AE-E13838084BB3}"/>
              </a:ext>
            </a:extLst>
          </p:cNvPr>
          <p:cNvCxnSpPr>
            <a:cxnSpLocks/>
          </p:cNvCxnSpPr>
          <p:nvPr userDrawn="1"/>
        </p:nvCxnSpPr>
        <p:spPr>
          <a:xfrm>
            <a:off x="2446279" y="5604482"/>
            <a:ext cx="3065517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C0EA1AD3-FB09-47F8-BB9C-4F38BB33C26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446280" y="3447253"/>
            <a:ext cx="3065517" cy="198011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048226E-5BD0-47BC-A2CE-6028EB18DC46}"/>
              </a:ext>
            </a:extLst>
          </p:cNvPr>
          <p:cNvCxnSpPr>
            <a:cxnSpLocks/>
          </p:cNvCxnSpPr>
          <p:nvPr userDrawn="1"/>
        </p:nvCxnSpPr>
        <p:spPr>
          <a:xfrm>
            <a:off x="6680199" y="2705446"/>
            <a:ext cx="3065517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5F72582F-7373-4398-BCD6-DF8E9728709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80200" y="548217"/>
            <a:ext cx="3065517" cy="198011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CEB59B0-E923-4D9F-8187-603AD6A3E427}"/>
              </a:ext>
            </a:extLst>
          </p:cNvPr>
          <p:cNvCxnSpPr>
            <a:cxnSpLocks/>
          </p:cNvCxnSpPr>
          <p:nvPr userDrawn="1"/>
        </p:nvCxnSpPr>
        <p:spPr>
          <a:xfrm>
            <a:off x="6680196" y="5604482"/>
            <a:ext cx="3065517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1E76E5CD-B03D-469E-8ED5-430B557826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80198" y="3447253"/>
            <a:ext cx="3065517" cy="198011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5DE99255-44CA-441C-BB41-85736567E2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80196" y="2705428"/>
            <a:ext cx="3065517" cy="426381"/>
          </a:xfrm>
        </p:spPr>
        <p:txBody>
          <a:bodyPr/>
          <a:lstStyle>
            <a:lvl1pPr marL="0" indent="0">
              <a:spcAft>
                <a:spcPts val="667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A523708E-9964-4FCA-9B54-EE04DBF6E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46279" y="5604463"/>
            <a:ext cx="3065517" cy="430276"/>
          </a:xfrm>
        </p:spPr>
        <p:txBody>
          <a:bodyPr/>
          <a:lstStyle>
            <a:lvl1pPr marL="0" indent="0">
              <a:spcAft>
                <a:spcPts val="667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A5DC7855-36C4-4F12-B064-148DB3EC7C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80196" y="5604463"/>
            <a:ext cx="3065517" cy="426381"/>
          </a:xfrm>
        </p:spPr>
        <p:txBody>
          <a:bodyPr/>
          <a:lstStyle>
            <a:lvl1pPr marL="0" indent="0">
              <a:spcAft>
                <a:spcPts val="667"/>
              </a:spcAft>
              <a:buFontTx/>
              <a:buNone/>
              <a:defRPr sz="24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7722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">
          <p15:clr>
            <a:srgbClr val="FBAE40"/>
          </p15:clr>
        </p15:guide>
        <p15:guide id="3" orient="horz" pos="2981">
          <p15:clr>
            <a:srgbClr val="FBAE40"/>
          </p15:clr>
        </p15:guide>
        <p15:guide id="4" orient="horz" pos="259">
          <p15:clr>
            <a:srgbClr val="FBAE40"/>
          </p15:clr>
        </p15:guide>
        <p15:guide id="5" pos="5488">
          <p15:clr>
            <a:srgbClr val="FBAE40"/>
          </p15:clr>
        </p15:guide>
        <p15:guide id="6" pos="2608">
          <p15:clr>
            <a:srgbClr val="FBAE40"/>
          </p15:clr>
        </p15:guide>
        <p15:guide id="7" orient="horz" pos="1620">
          <p15:clr>
            <a:srgbClr val="FBAE40"/>
          </p15:clr>
        </p15:guide>
        <p15:guide id="8" pos="3152">
          <p15:clr>
            <a:srgbClr val="FBAE40"/>
          </p15:clr>
        </p15:guide>
        <p15:guide id="9" pos="1156">
          <p15:clr>
            <a:srgbClr val="FBAE40"/>
          </p15:clr>
        </p15:guide>
        <p15:guide id="10" pos="46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2" y="2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5" y="2468895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50" indent="-380981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25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493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062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7" y="2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6" y="2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5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50" indent="-380981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25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493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062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5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50" indent="-380981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25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493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062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9645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269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8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78" indent="-457178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50" indent="-380981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25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493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062" indent="-30478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3" y="6213311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901" y="6282268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5" y="6282268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8" y="6282268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7859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78524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10" y="164639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10" y="3140969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9" y="164639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9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9" y="2180863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9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336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2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596152" y="528000"/>
            <a:ext cx="9865749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32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6360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8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20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453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sldNum="0" hdr="0"/>
  <p:txStyles>
    <p:titleStyle>
      <a:lvl1pPr algn="l" defTabSz="121914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78" indent="-457178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50" indent="-380981" algn="l" defTabSz="121914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25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493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06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Box 12">
            <a:extLst>
              <a:ext uri="{FF2B5EF4-FFF2-40B4-BE49-F238E27FC236}">
                <a16:creationId xmlns:a16="http://schemas.microsoft.com/office/drawing/2014/main" id="{3B78A1B5-5D60-4CB3-BE35-45F09174924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727200" y="6297084"/>
            <a:ext cx="4800600" cy="19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GB" altLang="en-US" sz="1067">
                <a:solidFill>
                  <a:srgbClr val="000000"/>
                </a:solidFill>
              </a:rPr>
              <a:t>The Alan Turing Institute</a:t>
            </a:r>
          </a:p>
        </p:txBody>
      </p:sp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5FA0B099-D98B-4334-B69B-347B6181D5C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75734" y="575734"/>
            <a:ext cx="11040533" cy="624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564EA9-55AA-41D3-854D-4E8DBDF876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5734" y="1631951"/>
            <a:ext cx="11040533" cy="43201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Click to add sub-header text. Indent for secondary levels and bullets. Or use buttons to add content. 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9D0711-CF50-4324-AACA-9A3E08F430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5734" y="6297084"/>
            <a:ext cx="1104900" cy="19261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0E7D4FB-D556-4702-BF77-3BBD141624CD}" type="datetime1">
              <a:rPr lang="en-US" smtClean="0"/>
              <a:t>3/31/2020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101B8-A913-4DC6-83DA-276AC8DA90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96600" y="6297084"/>
            <a:ext cx="719667" cy="192616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1067" b="1"/>
            </a:lvl1pPr>
          </a:lstStyle>
          <a:p>
            <a:pPr>
              <a:defRPr/>
            </a:pPr>
            <a:fld id="{F5125F9C-A842-4714-8AB3-35D4838AD65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D2BC769-0FEC-48A6-A33C-FA6B8451362A}"/>
              </a:ext>
            </a:extLst>
          </p:cNvPr>
          <p:cNvCxnSpPr/>
          <p:nvPr userDrawn="1"/>
        </p:nvCxnSpPr>
        <p:spPr>
          <a:xfrm>
            <a:off x="575734" y="6288617"/>
            <a:ext cx="110405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4786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1" r:id="rId13"/>
    <p:sldLayoutId id="2147483693" r:id="rId14"/>
  </p:sldLayoutIdLst>
  <p:hf sldNum="0" hd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5pPr>
      <a:lvl6pPr marL="609585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6pPr>
      <a:lvl7pPr marL="1219170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7pPr>
      <a:lvl8pPr marL="1828754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8pPr>
      <a:lvl9pPr marL="2438339" algn="l" rtl="0" fontAlgn="base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575719" indent="-334425"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438" indent="-334425"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157" indent="-334425"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3942" indent="-335992" algn="l" defTabSz="1219170" rtl="0" eaLnBrk="1" latinLnBrk="0" hangingPunct="1">
        <a:spcBef>
          <a:spcPts val="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879928" indent="-335992" algn="l" defTabSz="1219170" rtl="0" eaLnBrk="1" latinLnBrk="0" hangingPunct="1">
        <a:spcBef>
          <a:spcPts val="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4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08B229-2873-4EFE-8EE0-ADDDB8FF8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B34D24-4F12-44E4-9B88-C8DF4FB47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4C8DF7-FC7A-490B-8F35-CC93E665DD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3FFE4B-EB3C-48E1-9309-4A3EFF9939C9}" type="datetimeFigureOut">
              <a:rPr lang="en-GB" smtClean="0"/>
              <a:t>31/03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243E1-3A96-43C6-9AF6-9B7ACD3C2B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4A8B6F-684E-4C17-B54B-6776A3AF83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8E7A71-8A15-4D33-AFC5-DFCBFC50B8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3421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15EE4E3-78C2-485C-841F-23D9AB144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2" y="3750043"/>
            <a:ext cx="5804747" cy="762016"/>
          </a:xfrm>
        </p:spPr>
        <p:txBody>
          <a:bodyPr>
            <a:normAutofit fontScale="90000"/>
          </a:bodyPr>
          <a:lstStyle/>
          <a:p>
            <a:r>
              <a:rPr lang="en-GB" altLang="en-US" sz="4800" dirty="0">
                <a:latin typeface="Arial" panose="020B0604020202020204" pitchFamily="34" charset="0"/>
                <a:cs typeface="Arial" panose="020B0604020202020204" pitchFamily="34" charset="0"/>
              </a:rPr>
              <a:t>Data Study Groups at The Alan Turing Institut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5E9F2E-64A6-4E32-B83C-4C8D0970EE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8953" y="5470587"/>
            <a:ext cx="5804747" cy="762016"/>
          </a:xfrm>
        </p:spPr>
        <p:txBody>
          <a:bodyPr>
            <a:normAutofit fontScale="77500" lnSpcReduction="20000"/>
          </a:bodyPr>
          <a:lstStyle/>
          <a:p>
            <a:r>
              <a:rPr lang="en-GB" altLang="en-US" dirty="0">
                <a:latin typeface="Arial" panose="020B0604020202020204" pitchFamily="34" charset="0"/>
                <a:cs typeface="Arial" panose="020B0604020202020204" pitchFamily="34" charset="0"/>
              </a:rPr>
              <a:t>The national institute for data science and artificial intelligenc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Placeholder 39" descr="A group of people looking at a computer&#10;&#10;Description automatically generated">
            <a:extLst>
              <a:ext uri="{FF2B5EF4-FFF2-40B4-BE49-F238E27FC236}">
                <a16:creationId xmlns:a16="http://schemas.microsoft.com/office/drawing/2014/main" id="{B54BEBE2-E3BB-43D5-8F76-2981088F1A8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38" r="24538"/>
          <a:stretch>
            <a:fillRect/>
          </a:stretch>
        </p:blipFill>
        <p:spPr>
          <a:xfrm>
            <a:off x="7533715" y="0"/>
            <a:ext cx="4658285" cy="6098116"/>
          </a:xfrm>
        </p:spPr>
      </p:pic>
    </p:spTree>
    <p:extLst>
      <p:ext uri="{BB962C8B-B14F-4D97-AF65-F5344CB8AC3E}">
        <p14:creationId xmlns:p14="http://schemas.microsoft.com/office/powerpoint/2010/main" val="3644910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C5B624-9CF5-4DDC-AF5A-ECDFCDC980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49A7EF-F855-47F5-A493-57DABB8A9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3" y="627243"/>
            <a:ext cx="11040000" cy="816000"/>
          </a:xfrm>
        </p:spPr>
        <p:txBody>
          <a:bodyPr/>
          <a:lstStyle/>
          <a:p>
            <a:r>
              <a:rPr lang="en-US" dirty="0"/>
              <a:t>Data Study Group Collaborative Research Agreement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D2F844-9DBE-44D3-B382-4E0424B7CAB4}"/>
              </a:ext>
            </a:extLst>
          </p:cNvPr>
          <p:cNvSpPr/>
          <p:nvPr/>
        </p:nvSpPr>
        <p:spPr>
          <a:xfrm>
            <a:off x="429489" y="1965385"/>
            <a:ext cx="11526983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tabLst>
                <a:tab pos="609585" algn="l"/>
              </a:tabLst>
            </a:pPr>
            <a:r>
              <a:rPr lang="en-GB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llectual Property arising during DSG</a:t>
            </a:r>
            <a:endParaRPr lang="en-GB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90575" lvl="1" indent="-38099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  <a:tabLst>
                <a:tab pos="1219170" algn="l"/>
              </a:tabLst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 don’t expect any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90575" lvl="1" indent="-38099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  <a:tabLst>
                <a:tab pos="1219170" algn="l"/>
              </a:tabLst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l results will be published and any code developed will be made available under permissive open source license where possible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90575" lvl="1" indent="-38099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  <a:tabLst>
                <a:tab pos="1219170" algn="l"/>
              </a:tabLst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l of your data remains confidential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90575" lvl="1" indent="-38099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  <a:tabLst>
                <a:tab pos="1219170" algn="l"/>
              </a:tabLst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l of your background IP and that of our researchers, remains with the inventor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1219170" eaLnBrk="0" fontAlgn="base" hangingPunct="0">
              <a:spcBef>
                <a:spcPct val="0"/>
              </a:spcBef>
            </a:pP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en-GB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cation and Impact</a:t>
            </a:r>
            <a:endParaRPr lang="en-GB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90575" lvl="1" indent="-38099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  <a:tabLst>
                <a:tab pos="1219170" algn="l"/>
              </a:tabLst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 report will be published on the Turing website </a:t>
            </a:r>
          </a:p>
          <a:p>
            <a:pPr marL="990575" lvl="1" indent="-380990" defTabSz="1219170" eaLnBrk="0" fontAlgn="base" hangingPunct="0">
              <a:spcBef>
                <a:spcPct val="0"/>
              </a:spcBef>
              <a:buFont typeface="Arial" panose="020B0604020202020204" pitchFamily="34" charset="0"/>
              <a:buChar char="•"/>
              <a:tabLst>
                <a:tab pos="1219170" algn="l"/>
              </a:tabLst>
            </a:pPr>
            <a:r>
              <a:rPr lang="en-GB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 a Challenge Owner, you have the opportunity to review the report prior to publication, for minor redactions relating to confidentiality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4405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C5B624-9CF5-4DDC-AF5A-ECDFCDC980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49A7EF-F855-47F5-A493-57DABB8A9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tecting your data – The Turing safe have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817E1E-32A0-448F-8875-7357272110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990" y="1365862"/>
            <a:ext cx="3682590" cy="4126275"/>
          </a:xfrm>
          <a:prstGeom prst="rect">
            <a:avLst/>
          </a:prstGeom>
        </p:spPr>
      </p:pic>
      <p:pic>
        <p:nvPicPr>
          <p:cNvPr id="5" name="Picture 4" descr="A circuit board&#10;&#10;Description automatically generated">
            <a:extLst>
              <a:ext uri="{FF2B5EF4-FFF2-40B4-BE49-F238E27FC236}">
                <a16:creationId xmlns:a16="http://schemas.microsoft.com/office/drawing/2014/main" id="{42C04370-9360-4B34-AB67-B8CECEBDD5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147" y="1282451"/>
            <a:ext cx="2626853" cy="429309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4F0CD52-9307-4530-8268-CFD2A89D4B3C}"/>
              </a:ext>
            </a:extLst>
          </p:cNvPr>
          <p:cNvSpPr txBox="1"/>
          <p:nvPr/>
        </p:nvSpPr>
        <p:spPr>
          <a:xfrm>
            <a:off x="4367000" y="1537855"/>
            <a:ext cx="5264727" cy="39542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r data will be stored in the Turing safe haven</a:t>
            </a:r>
            <a:r>
              <a:rPr lang="en-GB" sz="2000" dirty="0">
                <a:solidFill>
                  <a:schemeClr val="bg1"/>
                </a:solidFill>
              </a:rPr>
              <a:t>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sz="2000" dirty="0">
                <a:solidFill>
                  <a:schemeClr val="bg1"/>
                </a:solidFill>
              </a:rPr>
              <a:t>Safe havens are secure research environments that sit on top of Azur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GB" sz="200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sz="2000" dirty="0">
                <a:solidFill>
                  <a:schemeClr val="bg1"/>
                </a:solidFill>
              </a:rPr>
              <a:t>They range in security features depending on the sensitivity of the projec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GB" sz="200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sz="2000" dirty="0">
                <a:solidFill>
                  <a:schemeClr val="bg1"/>
                </a:solidFill>
              </a:rPr>
              <a:t>In preparation for the event you will have to assess your data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GB" sz="200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GB" sz="200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9746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C5B624-9CF5-4DDC-AF5A-ECDFCDC980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49A7EF-F855-47F5-A493-57DABB8A9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4" y="460751"/>
            <a:ext cx="11040000" cy="816000"/>
          </a:xfrm>
        </p:spPr>
        <p:txBody>
          <a:bodyPr/>
          <a:lstStyle/>
          <a:p>
            <a:r>
              <a:rPr lang="en-GB" dirty="0"/>
              <a:t>Next steps (to join the pipeline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507772-B417-4336-82BF-3FF8624D9D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91677"/>
            <a:ext cx="5749026" cy="41517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AA52934-B808-4305-857D-596D3642720B}"/>
              </a:ext>
            </a:extLst>
          </p:cNvPr>
          <p:cNvSpPr/>
          <p:nvPr/>
        </p:nvSpPr>
        <p:spPr>
          <a:xfrm>
            <a:off x="5153891" y="1593497"/>
            <a:ext cx="6691135" cy="2932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Complete the challenge proposal form</a:t>
            </a:r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It does not need to be perfect!</a:t>
            </a:r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Submit to the DSG team (or your programme lead)</a:t>
            </a:r>
          </a:p>
        </p:txBody>
      </p:sp>
    </p:spTree>
    <p:extLst>
      <p:ext uri="{BB962C8B-B14F-4D97-AF65-F5344CB8AC3E}">
        <p14:creationId xmlns:p14="http://schemas.microsoft.com/office/powerpoint/2010/main" val="42104345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98DA32-30E6-4C77-95E3-25EBC4CF73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>
              <a:defRPr/>
            </a:pPr>
            <a:fld id="{43818088-3895-47F3-8888-06D0A7980059}" type="datetime1">
              <a:rPr lang="en-US" smtClean="0">
                <a:solidFill>
                  <a:prstClr val="white"/>
                </a:solidFill>
                <a:latin typeface="Arial"/>
              </a:rPr>
              <a:t>3/31/2020</a:t>
            </a:fld>
            <a:endParaRPr lang="en-GB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86AEFA-C374-4BC8-B166-5B404A68A61F}"/>
              </a:ext>
            </a:extLst>
          </p:cNvPr>
          <p:cNvSpPr/>
          <p:nvPr/>
        </p:nvSpPr>
        <p:spPr>
          <a:xfrm>
            <a:off x="503340" y="2543772"/>
            <a:ext cx="828832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https://www.turing.ac.uk/collaborate-turing/data-study-groups</a:t>
            </a:r>
          </a:p>
        </p:txBody>
      </p:sp>
    </p:spTree>
    <p:extLst>
      <p:ext uri="{BB962C8B-B14F-4D97-AF65-F5344CB8AC3E}">
        <p14:creationId xmlns:p14="http://schemas.microsoft.com/office/powerpoint/2010/main" val="24546798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C9DE74-07A4-45EE-9D9D-C34B3D54E7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8101" y="1101088"/>
            <a:ext cx="5228167" cy="726820"/>
          </a:xfrm>
        </p:spPr>
        <p:txBody>
          <a:bodyPr>
            <a:normAutofit fontScale="85000" lnSpcReduction="10000"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Collaborative Hackathon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E0DA5B3F-EF92-48C1-B8FB-AB60568845C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94758"/>
            <a:ext cx="5190067" cy="3938561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EA3735-48ED-42F5-8FD5-A4DDDDD66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59968" y="1692021"/>
            <a:ext cx="5956300" cy="4064891"/>
          </a:xfrm>
        </p:spPr>
        <p:txBody>
          <a:bodyPr>
            <a:normAutofit/>
          </a:bodyPr>
          <a:lstStyle/>
          <a:p>
            <a:pPr marL="0" indent="0" defTabSz="1219170">
              <a:buNone/>
            </a:pPr>
            <a:r>
              <a:rPr lang="en-GB" sz="2800" dirty="0">
                <a:latin typeface="Arial"/>
                <a:ea typeface="Helvetica"/>
                <a:cs typeface="Arial"/>
                <a:sym typeface="Helvetica"/>
              </a:rPr>
              <a:t>Bring together organisations from:</a:t>
            </a:r>
          </a:p>
          <a:p>
            <a:pPr marL="457200" indent="-457200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800" dirty="0">
                <a:latin typeface="Arial"/>
                <a:ea typeface="Helvetica"/>
                <a:cs typeface="Arial"/>
                <a:sym typeface="Helvetica"/>
              </a:rPr>
              <a:t>Industry</a:t>
            </a:r>
          </a:p>
          <a:p>
            <a:pPr marL="457200" indent="-457200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800" dirty="0">
                <a:latin typeface="Arial"/>
                <a:ea typeface="Helvetica"/>
                <a:cs typeface="Arial"/>
                <a:sym typeface="Helvetica"/>
              </a:rPr>
              <a:t>Government</a:t>
            </a:r>
          </a:p>
          <a:p>
            <a:pPr marL="457200" indent="-457200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800" dirty="0">
                <a:latin typeface="Arial"/>
                <a:ea typeface="Helvetica"/>
                <a:cs typeface="Arial"/>
                <a:sym typeface="Helvetica"/>
              </a:rPr>
              <a:t>Third sector</a:t>
            </a:r>
          </a:p>
          <a:p>
            <a:pPr marL="0" indent="0" defTabSz="1219170">
              <a:buNone/>
            </a:pPr>
            <a:r>
              <a:rPr lang="en-GB" sz="2800" dirty="0">
                <a:latin typeface="Arial"/>
                <a:ea typeface="Helvetica"/>
                <a:cs typeface="Arial"/>
                <a:sym typeface="Helvetica"/>
              </a:rPr>
              <a:t>With talented multi-disciplinary researchers from academia</a:t>
            </a:r>
            <a:endParaRPr lang="en-GB" sz="2800" dirty="0">
              <a:latin typeface="Arial"/>
              <a:ea typeface="Helvetic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36180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A23176-0508-4F53-9430-B28BEC8CA51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E3181B-D2A2-462E-A14A-173082794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4" y="714302"/>
            <a:ext cx="11040000" cy="816000"/>
          </a:xfrm>
        </p:spPr>
        <p:txBody>
          <a:bodyPr/>
          <a:lstStyle/>
          <a:p>
            <a:r>
              <a:rPr lang="en-GB" b="1" dirty="0"/>
              <a:t>The </a:t>
            </a:r>
            <a:r>
              <a:rPr lang="en-GB" sz="4400" b="1" dirty="0"/>
              <a:t>week</a:t>
            </a:r>
            <a:endParaRPr lang="en-GB" b="1" dirty="0"/>
          </a:p>
        </p:txBody>
      </p:sp>
      <p:pic>
        <p:nvPicPr>
          <p:cNvPr id="4" name="Picture 3" descr="A group of people standing in front of a computer&#10;&#10;Description automatically generated">
            <a:extLst>
              <a:ext uri="{FF2B5EF4-FFF2-40B4-BE49-F238E27FC236}">
                <a16:creationId xmlns:a16="http://schemas.microsoft.com/office/drawing/2014/main" id="{72EA64DE-995C-49EC-8122-82E27B7101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648" y="1122302"/>
            <a:ext cx="5663352" cy="3764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4CBE5D9-EEA6-4CB5-8C05-322570851BB3}"/>
              </a:ext>
            </a:extLst>
          </p:cNvPr>
          <p:cNvSpPr/>
          <p:nvPr/>
        </p:nvSpPr>
        <p:spPr>
          <a:xfrm>
            <a:off x="304800" y="1538463"/>
            <a:ext cx="6096000" cy="334784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80990" indent="-380990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cs typeface="Arial" panose="020B0604020202020204" pitchFamily="34" charset="0"/>
              </a:rPr>
              <a:t>Day 1: Challenges are presented by the organisation</a:t>
            </a:r>
          </a:p>
          <a:p>
            <a:pPr marL="380990" indent="-380990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cs typeface="Arial" panose="020B0604020202020204" pitchFamily="34" charset="0"/>
              </a:rPr>
              <a:t>Day 2-4: Brainstorming, modelling and problem solving</a:t>
            </a:r>
            <a:endParaRPr lang="en-GB" sz="2400" dirty="0">
              <a:solidFill>
                <a:schemeClr val="bg1"/>
              </a:solidFill>
              <a:cs typeface="Arial"/>
            </a:endParaRPr>
          </a:p>
          <a:p>
            <a:pPr marL="380990" indent="-380990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cs typeface="Arial" panose="020B0604020202020204" pitchFamily="34" charset="0"/>
              </a:rPr>
              <a:t>Day 5: Progress and recommended routes forward are presented. </a:t>
            </a:r>
            <a:endParaRPr lang="en-GB" sz="2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FCBF3B-3C4A-4C90-9169-0624CC38A7A7}"/>
              </a:ext>
            </a:extLst>
          </p:cNvPr>
          <p:cNvSpPr/>
          <p:nvPr/>
        </p:nvSpPr>
        <p:spPr>
          <a:xfrm>
            <a:off x="432648" y="5412532"/>
            <a:ext cx="120087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/>
            <a:r>
              <a:rPr lang="en-GB" sz="2400" u="sng" dirty="0">
                <a:solidFill>
                  <a:schemeClr val="bg1"/>
                </a:solidFill>
                <a:cs typeface="Arial" panose="020B0604020202020204" pitchFamily="34" charset="0"/>
              </a:rPr>
              <a:t>Afterwards: </a:t>
            </a:r>
            <a:r>
              <a:rPr lang="en-GB" sz="2400" dirty="0">
                <a:solidFill>
                  <a:schemeClr val="bg1"/>
                </a:solidFill>
                <a:cs typeface="Arial" panose="020B0604020202020204" pitchFamily="34" charset="0"/>
              </a:rPr>
              <a:t>Code &amp; quality-controlled report and possible extension of collaboration</a:t>
            </a:r>
            <a:endParaRPr lang="en-GB" sz="2400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1145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A23176-0508-4F53-9430-B28BEC8CA51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E3181B-D2A2-462E-A14A-173082794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614146"/>
            <a:ext cx="11040000" cy="816000"/>
          </a:xfrm>
        </p:spPr>
        <p:txBody>
          <a:bodyPr/>
          <a:lstStyle/>
          <a:p>
            <a:r>
              <a:rPr lang="en-GB" b="1" dirty="0"/>
              <a:t>Preparation: Start with the end in mind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CBE5D9-EEA6-4CB5-8C05-322570851BB3}"/>
              </a:ext>
            </a:extLst>
          </p:cNvPr>
          <p:cNvSpPr/>
          <p:nvPr/>
        </p:nvSpPr>
        <p:spPr>
          <a:xfrm>
            <a:off x="6691745" y="1955198"/>
            <a:ext cx="6096000" cy="331366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s include: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esentation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port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7044786-2C19-4C87-9C87-E7CF5A493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39432"/>
            <a:ext cx="6317946" cy="41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96144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F875F1-320D-4DE6-8579-37759D5535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6DA5DE-C591-4892-BC9D-AB5108DAA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makes a great challenge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0248A1-79DC-4461-A0AE-9101B1E7EED0}"/>
              </a:ext>
            </a:extLst>
          </p:cNvPr>
          <p:cNvSpPr/>
          <p:nvPr/>
        </p:nvSpPr>
        <p:spPr>
          <a:xfrm>
            <a:off x="575733" y="1436517"/>
            <a:ext cx="7536873" cy="3244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A framework for exploration (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</a:t>
            </a:r>
            <a:r>
              <a:rPr lang="en-US" sz="2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ltancy</a:t>
            </a:r>
            <a:r>
              <a:rPr lang="en-GB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800" dirty="0">
              <a:solidFill>
                <a:schemeClr val="bg1"/>
              </a:solidFill>
            </a:endParaRP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Can the question be tackled with data?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the challenge doable in 3.5 days?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the question challenging, non trivial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0EF0FC-9FFF-4BBD-9A6D-15A002B21347}"/>
              </a:ext>
            </a:extLst>
          </p:cNvPr>
          <p:cNvSpPr/>
          <p:nvPr/>
        </p:nvSpPr>
        <p:spPr>
          <a:xfrm rot="19508244">
            <a:off x="7436711" y="4155713"/>
            <a:ext cx="305436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</a:rPr>
              <a:t>We will help!</a:t>
            </a:r>
          </a:p>
        </p:txBody>
      </p:sp>
    </p:spTree>
    <p:extLst>
      <p:ext uri="{BB962C8B-B14F-4D97-AF65-F5344CB8AC3E}">
        <p14:creationId xmlns:p14="http://schemas.microsoft.com/office/powerpoint/2010/main" val="1498949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F875F1-320D-4DE6-8579-37759D5535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6DA5DE-C591-4892-BC9D-AB5108DAA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proof of concept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892C41-FA78-48FF-A87F-76CE94433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0865" y="1468678"/>
            <a:ext cx="6261135" cy="41700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FF43A70-C634-4038-8356-620B828CFE2F}"/>
              </a:ext>
            </a:extLst>
          </p:cNvPr>
          <p:cNvSpPr/>
          <p:nvPr/>
        </p:nvSpPr>
        <p:spPr>
          <a:xfrm>
            <a:off x="138279" y="1385748"/>
            <a:ext cx="5472812" cy="4536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marR="0" lvl="0" indent="-380990" algn="l" defTabSz="121917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ggest routes towards follow-on collaborative research</a:t>
            </a:r>
          </a:p>
          <a:p>
            <a:pPr marL="838190" marR="0" lvl="1" indent="-380990" algn="l" defTabSz="121917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 will not have a complete answer. But you will have some direction</a:t>
            </a:r>
          </a:p>
          <a:p>
            <a:pPr marL="838190" marR="0" lvl="1" indent="-380990" algn="l" defTabSz="121917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 answering the question is also valuable knowledge</a:t>
            </a:r>
          </a:p>
        </p:txBody>
      </p:sp>
    </p:spTree>
    <p:extLst>
      <p:ext uri="{BB962C8B-B14F-4D97-AF65-F5344CB8AC3E}">
        <p14:creationId xmlns:p14="http://schemas.microsoft.com/office/powerpoint/2010/main" val="1768073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F875F1-320D-4DE6-8579-37759D5535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6DA5DE-C591-4892-BC9D-AB5108DAA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Get involved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F43A70-C634-4038-8356-620B828CFE2F}"/>
              </a:ext>
            </a:extLst>
          </p:cNvPr>
          <p:cNvSpPr/>
          <p:nvPr/>
        </p:nvSpPr>
        <p:spPr>
          <a:xfrm>
            <a:off x="138279" y="1268669"/>
            <a:ext cx="5472812" cy="4536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 owners are expected to collaborate closely with the Turing throughout the process: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governance requirements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d with the study group during the week </a:t>
            </a:r>
          </a:p>
          <a:p>
            <a:pPr marL="380990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GB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72D31B-DA8D-4A2B-ACDF-1E4B92279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7873" y="1462632"/>
            <a:ext cx="7226745" cy="373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75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F875F1-320D-4DE6-8579-37759D5535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6DA5DE-C591-4892-BC9D-AB5108DAA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561334"/>
            <a:ext cx="11040000" cy="816000"/>
          </a:xfrm>
        </p:spPr>
        <p:txBody>
          <a:bodyPr/>
          <a:lstStyle/>
          <a:p>
            <a:r>
              <a:rPr lang="en-GB" b="1" dirty="0"/>
              <a:t>Is your Data in good shape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F43A70-C634-4038-8356-620B828CFE2F}"/>
              </a:ext>
            </a:extLst>
          </p:cNvPr>
          <p:cNvSpPr/>
          <p:nvPr/>
        </p:nvSpPr>
        <p:spPr>
          <a:xfrm>
            <a:off x="5084350" y="1213185"/>
            <a:ext cx="6858267" cy="5644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tions: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&amp; cleanliness - is there missing or inaccurate data? 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tivity 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 (Data points and physical)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ibility - how easy is it to get the data ready?</a:t>
            </a:r>
          </a:p>
          <a:p>
            <a:pPr marL="838190" lvl="1" indent="-380990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ness - Can you add more data for a fuller picture?</a:t>
            </a:r>
          </a:p>
          <a:p>
            <a:pPr marL="380990" marR="0" lvl="0" indent="-380990" algn="l" defTabSz="121917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51BCEE6-E9EA-4E34-B25A-ED2EA0F3AF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22" r="24366" b="10097"/>
          <a:stretch/>
        </p:blipFill>
        <p:spPr bwMode="auto">
          <a:xfrm>
            <a:off x="1284246" y="2029185"/>
            <a:ext cx="3800104" cy="3859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5296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F875F1-320D-4DE6-8579-37759D5535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3749-D969-4DD2-9868-2215C26833D4}" type="datetime1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31/2020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6DA5DE-C591-4892-BC9D-AB5108DAA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DSG P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7A800C-4D60-4904-9CE8-A179399A67FB}"/>
              </a:ext>
            </a:extLst>
          </p:cNvPr>
          <p:cNvSpPr/>
          <p:nvPr/>
        </p:nvSpPr>
        <p:spPr>
          <a:xfrm>
            <a:off x="575733" y="1333672"/>
            <a:ext cx="5880485" cy="4409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A postdoc level researcher looking to engage with industry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The PI will help scope your problem into an academic DSG challeng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The PI focus is on the science (we do the admin)</a:t>
            </a:r>
          </a:p>
        </p:txBody>
      </p:sp>
      <p:pic>
        <p:nvPicPr>
          <p:cNvPr id="6" name="Picture 5" descr="A group of people looking at a computer&#10;&#10;Description automatically generated">
            <a:extLst>
              <a:ext uri="{FF2B5EF4-FFF2-40B4-BE49-F238E27FC236}">
                <a16:creationId xmlns:a16="http://schemas.microsoft.com/office/drawing/2014/main" id="{683711BA-1824-4F8B-B05A-41201EDDD5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354" y="1333672"/>
            <a:ext cx="5623646" cy="3856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580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noAutofit/>
      </a:bodyPr>
      <a:lstStyle>
        <a:defPPr>
          <a:defRPr sz="1200" b="1" dirty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Red&amp;White - Alan Turing">
      <a:dk1>
        <a:sysClr val="windowText" lastClr="000000"/>
      </a:dk1>
      <a:lt1>
        <a:sysClr val="window" lastClr="FFFFFF"/>
      </a:lt1>
      <a:dk2>
        <a:srgbClr val="00FF00"/>
      </a:dk2>
      <a:lt2>
        <a:srgbClr val="00FFFF"/>
      </a:lt2>
      <a:accent1>
        <a:srgbClr val="0000FF"/>
      </a:accent1>
      <a:accent2>
        <a:srgbClr val="7D00FF"/>
      </a:accent2>
      <a:accent3>
        <a:srgbClr val="FF00FF"/>
      </a:accent3>
      <a:accent4>
        <a:srgbClr val="FF0000"/>
      </a:accent4>
      <a:accent5>
        <a:srgbClr val="FF7D00"/>
      </a:accent5>
      <a:accent6>
        <a:srgbClr val="FFFF00"/>
      </a:accent6>
      <a:hlink>
        <a:srgbClr val="FF7D00"/>
      </a:hlink>
      <a:folHlink>
        <a:srgbClr val="0000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 Alan Turing Master PPT with intro slides_widescreen_v3" id="{5DFD5C9A-0A2C-4E03-B4D8-1CB4749D4479}" vid="{9C62355F-E4EE-46CD-BECD-0FFB3DDDDA07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E422097E5C8A46838E12873F7135F7" ma:contentTypeVersion="12" ma:contentTypeDescription="Create a new document." ma:contentTypeScope="" ma:versionID="11e26ce4bd8a0bb1431242f73f2c2732">
  <xsd:schema xmlns:xsd="http://www.w3.org/2001/XMLSchema" xmlns:xs="http://www.w3.org/2001/XMLSchema" xmlns:p="http://schemas.microsoft.com/office/2006/metadata/properties" xmlns:ns2="d0b2176c-cfff-4ff7-b73e-1740997e3bd5" xmlns:ns3="642cbefa-35cc-43a8-90fb-55dcfdbf3bbf" targetNamespace="http://schemas.microsoft.com/office/2006/metadata/properties" ma:root="true" ma:fieldsID="5f63b32e5031489cf7ab6c165f13f88c" ns2:_="" ns3:_="">
    <xsd:import namespace="d0b2176c-cfff-4ff7-b73e-1740997e3bd5"/>
    <xsd:import namespace="642cbefa-35cc-43a8-90fb-55dcfdbf3bb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b2176c-cfff-4ff7-b73e-1740997e3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cbefa-35cc-43a8-90fb-55dcfdbf3bb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C6FD61-1AEE-4A82-BFF8-8DE668AD91E2}">
  <ds:schemaRefs>
    <ds:schemaRef ds:uri="642cbefa-35cc-43a8-90fb-55dcfdbf3bbf"/>
    <ds:schemaRef ds:uri="d0b2176c-cfff-4ff7-b73e-1740997e3bd5"/>
    <ds:schemaRef ds:uri="http://purl.org/dc/dcmitype/"/>
    <ds:schemaRef ds:uri="http://purl.org/dc/elements/1.1/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D427FA4-C5B6-478B-810B-E52809D5209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899D9A-4DC4-4BC9-B67A-44DC9294E6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b2176c-cfff-4ff7-b73e-1740997e3bd5"/>
    <ds:schemaRef ds:uri="642cbefa-35cc-43a8-90fb-55dcfdbf3b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05</TotalTime>
  <Words>491</Words>
  <Application>Microsoft Office PowerPoint</Application>
  <PresentationFormat>Widescreen</PresentationFormat>
  <Paragraphs>81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Arial Black</vt:lpstr>
      <vt:lpstr>Calibri</vt:lpstr>
      <vt:lpstr>Calibri Light</vt:lpstr>
      <vt:lpstr>Futura LT Book</vt:lpstr>
      <vt:lpstr>Sketch Rockwell</vt:lpstr>
      <vt:lpstr>Times New Roman</vt:lpstr>
      <vt:lpstr>Wingdings</vt:lpstr>
      <vt:lpstr>11_GSMA</vt:lpstr>
      <vt:lpstr>Office Theme</vt:lpstr>
      <vt:lpstr>1_Office Theme</vt:lpstr>
      <vt:lpstr>think-cell Slide</vt:lpstr>
      <vt:lpstr>Data Study Groups at The Alan Turing Institute</vt:lpstr>
      <vt:lpstr>PowerPoint Presentation</vt:lpstr>
      <vt:lpstr>The week</vt:lpstr>
      <vt:lpstr>Preparation: Start with the end in mind </vt:lpstr>
      <vt:lpstr>What makes a great challenge?</vt:lpstr>
      <vt:lpstr>A proof of concept </vt:lpstr>
      <vt:lpstr>Get involved </vt:lpstr>
      <vt:lpstr>Is your Data in good shape?</vt:lpstr>
      <vt:lpstr>The DSG PI</vt:lpstr>
      <vt:lpstr>Data Study Group Collaborative Research Agreement</vt:lpstr>
      <vt:lpstr>Protecting your data – The Turing safe haven </vt:lpstr>
      <vt:lpstr>Next steps (to join the pipeline)</vt:lpstr>
      <vt:lpstr>PowerPoint Presentation</vt:lpstr>
    </vt:vector>
  </TitlesOfParts>
  <Company>GSM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sa Balestra</dc:creator>
  <cp:lastModifiedBy>Daisy Parry</cp:lastModifiedBy>
  <cp:revision>36</cp:revision>
  <dcterms:created xsi:type="dcterms:W3CDTF">2019-03-31T18:44:14Z</dcterms:created>
  <dcterms:modified xsi:type="dcterms:W3CDTF">2020-03-31T13:2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E422097E5C8A46838E12873F7135F7</vt:lpwstr>
  </property>
</Properties>
</file>